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29.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31.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3.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35.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37.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39.xml" ContentType="application/vnd.openxmlformats-officedocument.presentationml.tags+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tags/tag41.xml" ContentType="application/vnd.openxmlformats-officedocument.presentationml.tags+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tags/tag43.xml" ContentType="application/vnd.openxmlformats-officedocument.presentationml.tags+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tags/tag45.xml" ContentType="application/vnd.openxmlformats-officedocument.presentationml.tags+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tags/tag47.xml" ContentType="application/vnd.openxmlformats-officedocument.presentationml.tags+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ags/tag49.xml" ContentType="application/vnd.openxmlformats-officedocument.presentationml.tags+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tags/tag51.xml" ContentType="application/vnd.openxmlformats-officedocument.presentationml.tags+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tags/tag53.xml" ContentType="application/vnd.openxmlformats-officedocument.presentationml.tags+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tags/tag55.xml" ContentType="application/vnd.openxmlformats-officedocument.presentationml.tags+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ags/tag57.xml" ContentType="application/vnd.openxmlformats-officedocument.presentationml.tags+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tags/tag59.xml" ContentType="application/vnd.openxmlformats-officedocument.presentationml.tags+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tags/tag61.xml" ContentType="application/vnd.openxmlformats-officedocument.presentationml.tags+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tags/tag63.xml" ContentType="application/vnd.openxmlformats-officedocument.presentationml.tags+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tags/tag65.xml" ContentType="application/vnd.openxmlformats-officedocument.presentationml.tags+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tags/tag67.xml" ContentType="application/vnd.openxmlformats-officedocument.presentationml.tags+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tags/tag69.xml" ContentType="application/vnd.openxmlformats-officedocument.presentationml.tags+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tags/tag71.xml" ContentType="application/vnd.openxmlformats-officedocument.presentationml.tags+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tags/tag73.xml" ContentType="application/vnd.openxmlformats-officedocument.presentationml.tags+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tags/tag74.xml" ContentType="application/vnd.openxmlformats-officedocument.presentationml.tags+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tags/tag75.xml" ContentType="application/vnd.openxmlformats-officedocument.presentationml.tags+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76.xml" ContentType="application/vnd.openxmlformats-officedocument.presentationml.tags+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tags/tag77.xml" ContentType="application/vnd.openxmlformats-officedocument.presentationml.tags+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tags/tag78.xml" ContentType="application/vnd.openxmlformats-officedocument.presentationml.tags+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tags/tag79.xml" ContentType="application/vnd.openxmlformats-officedocument.presentationml.tags+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0.xml" ContentType="application/vnd.openxmlformats-officedocument.presentationml.tags+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tags/tag81.xml" ContentType="application/vnd.openxmlformats-officedocument.presentationml.tags+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tags/tag82.xml" ContentType="application/vnd.openxmlformats-officedocument.presentationml.tags+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tags/tag83.xml" ContentType="application/vnd.openxmlformats-officedocument.presentationml.tags+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84.xml" ContentType="application/vnd.openxmlformats-officedocument.presentationml.tags+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tags/tag85.xml" ContentType="application/vnd.openxmlformats-officedocument.presentationml.tags+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86.xml" ContentType="application/vnd.openxmlformats-officedocument.presentationml.tags+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tags/tag87.xml" ContentType="application/vnd.openxmlformats-officedocument.presentationml.tags+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88.xml" ContentType="application/vnd.openxmlformats-officedocument.presentationml.tags+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tags/tag89.xml" ContentType="application/vnd.openxmlformats-officedocument.presentationml.tags+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tags/tag90.xml" ContentType="application/vnd.openxmlformats-officedocument.presentationml.tags+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tags/tag91.xml" ContentType="application/vnd.openxmlformats-officedocument.presentationml.tags+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2.xml" ContentType="application/vnd.openxmlformats-officedocument.presentationml.tags+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tags/tag93.xml" ContentType="application/vnd.openxmlformats-officedocument.presentationml.tags+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tags/tag94.xml" ContentType="application/vnd.openxmlformats-officedocument.presentationml.tags+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tags/tag95.xml" ContentType="application/vnd.openxmlformats-officedocument.presentationml.tags+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tags/tag96.xml" ContentType="application/vnd.openxmlformats-officedocument.presentationml.tags+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tags/tag97.xml" ContentType="application/vnd.openxmlformats-officedocument.presentationml.tags+xml"/>
  <Override PartName="/ppt/charts/chart208.xml" ContentType="application/vnd.openxmlformats-officedocument.drawingml.chart+xml"/>
  <Override PartName="/ppt/charts/chart209.xml" ContentType="application/vnd.openxmlformats-officedocument.drawingml.chart+xml"/>
  <Override PartName="/ppt/charts/chart210.xml" ContentType="application/vnd.openxmlformats-officedocument.drawingml.chart+xml"/>
  <Override PartName="/ppt/tags/tag98.xml" ContentType="application/vnd.openxmlformats-officedocument.presentationml.tags+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tags/tag99.xml" ContentType="application/vnd.openxmlformats-officedocument.presentationml.tags+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tags/tag100.xml" ContentType="application/vnd.openxmlformats-officedocument.presentationml.tags+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tags/tag101.xml" ContentType="application/vnd.openxmlformats-officedocument.presentationml.tags+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tags/tag102.xml" ContentType="application/vnd.openxmlformats-officedocument.presentationml.tags+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tags/tag103.xml" ContentType="application/vnd.openxmlformats-officedocument.presentationml.tags+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tags/tag104.xml" ContentType="application/vnd.openxmlformats-officedocument.presentationml.tags+xml"/>
  <Override PartName="/ppt/charts/chart229.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tags/tag105.xml" ContentType="application/vnd.openxmlformats-officedocument.presentationml.tags+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tags/tag106.xml" ContentType="application/vnd.openxmlformats-officedocument.presentationml.tags+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tags/tag107.xml" ContentType="application/vnd.openxmlformats-officedocument.presentationml.tags+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tags/tag108.xml" ContentType="application/vnd.openxmlformats-officedocument.presentationml.tags+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86"/>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 id="2147475239" r:id="rId71"/>
    <p:sldId id="2147475240" r:id="rId72"/>
    <p:sldId id="2147475241" r:id="rId73"/>
    <p:sldId id="2147475242" r:id="rId74"/>
    <p:sldId id="2147475243" r:id="rId75"/>
    <p:sldId id="2147475244" r:id="rId76"/>
    <p:sldId id="2147475245" r:id="rId77"/>
    <p:sldId id="2147475246" r:id="rId78"/>
    <p:sldId id="2147475247" r:id="rId79"/>
    <p:sldId id="2147475248" r:id="rId80"/>
    <p:sldId id="2147475249" r:id="rId81"/>
    <p:sldId id="2147475250" r:id="rId82"/>
    <p:sldId id="2147475251" r:id="rId83"/>
    <p:sldId id="2147475252" r:id="rId84"/>
    <p:sldId id="2147475253" r:id="rId85"/>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Share Topline By Base Price Bracket" id="{F7DA6A46-59EA-4507-8D43-3942363C4C86}">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theme" Target="theme/theme1.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tableStyles" Target="tableStyles.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viewProps" Target="viewProps.xml"/><Relationship Id="rId9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92" Type="http://schemas.microsoft.com/office/2018/10/relationships/authors" Target="authors.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presProps" Target="presProp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1605</c:v>
                </c:pt>
                <c:pt idx="3">
                  <c:v>3.2000000000000001E-2</c:v>
                </c:pt>
                <c:pt idx="4">
                  <c:v>4.6399999999999997E-2</c:v>
                </c:pt>
                <c:pt idx="5">
                  <c:v>0.12379999999999999</c:v>
                </c:pt>
                <c:pt idx="6">
                  <c:v>1.38E-2</c:v>
                </c:pt>
                <c:pt idx="7">
                  <c:v>0.30109999999999998</c:v>
                </c:pt>
                <c:pt idx="8">
                  <c:v>0.3224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1605</c:v>
                </c:pt>
                <c:pt idx="3">
                  <c:v>3.2000000000000001E-2</c:v>
                </c:pt>
                <c:pt idx="4">
                  <c:v>4.6399999999999997E-2</c:v>
                </c:pt>
                <c:pt idx="5">
                  <c:v>0.12379999999999999</c:v>
                </c:pt>
                <c:pt idx="6">
                  <c:v>1.38E-2</c:v>
                </c:pt>
                <c:pt idx="7">
                  <c:v>0.30109999999999998</c:v>
                </c:pt>
                <c:pt idx="8">
                  <c:v>0.3224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097551613754901E-2</c:v>
                </c:pt>
                <c:pt idx="1">
                  <c:v>1.1038120023828693E-3</c:v>
                </c:pt>
                <c:pt idx="2">
                  <c:v>1.5282875797082282E-3</c:v>
                </c:pt>
                <c:pt idx="3">
                  <c:v>0.24074556770459496</c:v>
                </c:pt>
                <c:pt idx="4">
                  <c:v>0.25074804702660702</c:v>
                </c:pt>
                <c:pt idx="5">
                  <c:v>9.5015674280341231E-2</c:v>
                </c:pt>
                <c:pt idx="6">
                  <c:v>1.7766219714730622E-2</c:v>
                </c:pt>
                <c:pt idx="7">
                  <c:v>0.15861178296232292</c:v>
                </c:pt>
                <c:pt idx="8">
                  <c:v>0.20674302461709723</c:v>
                </c:pt>
                <c:pt idx="9">
                  <c:v>9.6400324984600664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3.1334301198831354E-5</c:v>
                </c:pt>
                <c:pt idx="3">
                  <c:v>0.23922943724874743</c:v>
                </c:pt>
                <c:pt idx="4">
                  <c:v>0.24634596161734573</c:v>
                </c:pt>
                <c:pt idx="5">
                  <c:v>3.6273384136339092E-3</c:v>
                </c:pt>
                <c:pt idx="6">
                  <c:v>9.0066920487912733E-4</c:v>
                </c:pt>
                <c:pt idx="7">
                  <c:v>4.8577051613370996E-2</c:v>
                </c:pt>
                <c:pt idx="8">
                  <c:v>4.212907765016434E-2</c:v>
                </c:pt>
                <c:pt idx="9">
                  <c:v>6.201632242871619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3.9853428595946522E-6</c:v>
                </c:pt>
                <c:pt idx="7">
                  <c:v>2.9623711605380565E-3</c:v>
                </c:pt>
                <c:pt idx="8">
                  <c:v>0.160223415395686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8.809876440111869E-2</c:v>
                </c:pt>
                <c:pt idx="6">
                  <c:v>1.3890199562935858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8097551613754901E-2</c:v>
                </c:pt>
                <c:pt idx="1">
                  <c:v>1.1038120023828693E-3</c:v>
                </c:pt>
                <c:pt idx="2">
                  <c:v>1.4969532785093971E-3</c:v>
                </c:pt>
                <c:pt idx="3">
                  <c:v>1.5161304558475382E-3</c:v>
                </c:pt>
                <c:pt idx="4">
                  <c:v>4.3981000664016622E-3</c:v>
                </c:pt>
                <c:pt idx="5">
                  <c:v>3.28957146558863E-3</c:v>
                </c:pt>
                <c:pt idx="6">
                  <c:v>1.6726648514222134E-2</c:v>
                </c:pt>
                <c:pt idx="7">
                  <c:v>0.10707236018841385</c:v>
                </c:pt>
                <c:pt idx="8">
                  <c:v>4.3905315712462851E-3</c:v>
                </c:pt>
                <c:pt idx="9">
                  <c:v>3.438400255588447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346815577936997E-2</c:v>
                </c:pt>
                <c:pt idx="1">
                  <c:v>4.444336608054893E-3</c:v>
                </c:pt>
                <c:pt idx="2">
                  <c:v>3.6017149221030359E-2</c:v>
                </c:pt>
                <c:pt idx="3">
                  <c:v>0.14561464720112</c:v>
                </c:pt>
                <c:pt idx="4">
                  <c:v>0.31870308409378206</c:v>
                </c:pt>
                <c:pt idx="5">
                  <c:v>8.3049979740238325E-2</c:v>
                </c:pt>
                <c:pt idx="6">
                  <c:v>7.8023811892358796E-2</c:v>
                </c:pt>
                <c:pt idx="7">
                  <c:v>0.11515289447697061</c:v>
                </c:pt>
                <c:pt idx="8">
                  <c:v>0.1802110412061716</c:v>
                </c:pt>
                <c:pt idx="9">
                  <c:v>1.543623998233640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8526375298133922E-6</c:v>
                </c:pt>
                <c:pt idx="1">
                  <c:v>4.149199193491643E-3</c:v>
                </c:pt>
                <c:pt idx="2">
                  <c:v>3.5030122747466315E-2</c:v>
                </c:pt>
                <c:pt idx="3">
                  <c:v>0.14359216493144436</c:v>
                </c:pt>
                <c:pt idx="4">
                  <c:v>0.31161910677500987</c:v>
                </c:pt>
                <c:pt idx="5">
                  <c:v>1.2019983161347771E-3</c:v>
                </c:pt>
                <c:pt idx="6">
                  <c:v>2.9343899142781579E-3</c:v>
                </c:pt>
                <c:pt idx="7">
                  <c:v>3.5483747303753276E-2</c:v>
                </c:pt>
                <c:pt idx="8">
                  <c:v>5.4894006264755053E-2</c:v>
                </c:pt>
                <c:pt idx="9">
                  <c:v>4.390181173222175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5">
                  <c:v>3.0086352684843029E-6</c:v>
                </c:pt>
                <c:pt idx="7">
                  <c:v>4.3893659301171672E-2</c:v>
                </c:pt>
                <c:pt idx="8">
                  <c:v>0.120400439648960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9428990141866858E-3</c:v>
                </c:pt>
                <c:pt idx="5">
                  <c:v>7.6898970512948056E-2</c:v>
                </c:pt>
                <c:pt idx="6">
                  <c:v>2.118923587943136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3341962940407184E-2</c:v>
                </c:pt>
                <c:pt idx="1">
                  <c:v>2.9513741456325049E-4</c:v>
                </c:pt>
                <c:pt idx="2">
                  <c:v>9.8702647356404389E-4</c:v>
                </c:pt>
                <c:pt idx="3">
                  <c:v>2.0224822696756255E-3</c:v>
                </c:pt>
                <c:pt idx="4">
                  <c:v>5.1410783045854995E-3</c:v>
                </c:pt>
                <c:pt idx="5">
                  <c:v>4.9460022758870013E-3</c:v>
                </c:pt>
                <c:pt idx="6">
                  <c:v>5.3900186098649272E-2</c:v>
                </c:pt>
                <c:pt idx="7">
                  <c:v>3.5775487872045653E-2</c:v>
                </c:pt>
                <c:pt idx="8">
                  <c:v>4.9165952924563319E-3</c:v>
                </c:pt>
                <c:pt idx="9">
                  <c:v>1.104605880911422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8.3531651380679903E-3</c:v>
                </c:pt>
                <c:pt idx="3">
                  <c:v>0.38021225596049668</c:v>
                </c:pt>
                <c:pt idx="4">
                  <c:v>0.10773548689713384</c:v>
                </c:pt>
                <c:pt idx="5">
                  <c:v>0.11240208748273982</c:v>
                </c:pt>
                <c:pt idx="6">
                  <c:v>5.7039334901111492E-3</c:v>
                </c:pt>
                <c:pt idx="7">
                  <c:v>0.18405881254330331</c:v>
                </c:pt>
                <c:pt idx="8">
                  <c:v>0.2011401678119552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8.3435823860633241E-3</c:v>
                </c:pt>
                <c:pt idx="3">
                  <c:v>0.38001590936473439</c:v>
                </c:pt>
                <c:pt idx="4">
                  <c:v>0.10724137624689321</c:v>
                </c:pt>
                <c:pt idx="7">
                  <c:v>3.8468460617734138E-2</c:v>
                </c:pt>
                <c:pt idx="8">
                  <c:v>4.210651248817253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6">
                  <c:v>6.8676389366778733E-5</c:v>
                </c:pt>
                <c:pt idx="7">
                  <c:v>4.1238774330083286E-3</c:v>
                </c:pt>
                <c:pt idx="8">
                  <c:v>0.1395332540959526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0.11240208748273982</c:v>
                </c:pt>
                <c:pt idx="6">
                  <c:v>5.1927535628622044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2">
                  <c:v>9.5827520046668004E-6</c:v>
                </c:pt>
                <c:pt idx="3">
                  <c:v>1.9634659576228745E-4</c:v>
                </c:pt>
                <c:pt idx="4">
                  <c:v>4.9411065024063193E-4</c:v>
                </c:pt>
                <c:pt idx="6">
                  <c:v>4.4250353788216591E-4</c:v>
                </c:pt>
                <c:pt idx="7">
                  <c:v>0.14146647449256083</c:v>
                </c:pt>
                <c:pt idx="8">
                  <c:v>1.95004012278300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0.26889999999999997</c:v>
                </c:pt>
                <c:pt idx="4">
                  <c:v>0.14979999999999999</c:v>
                </c:pt>
                <c:pt idx="5">
                  <c:v>0.15809999999999999</c:v>
                </c:pt>
                <c:pt idx="6">
                  <c:v>8.5999999999999993E-2</c:v>
                </c:pt>
                <c:pt idx="7">
                  <c:v>0.26860000000000001</c:v>
                </c:pt>
                <c:pt idx="8">
                  <c:v>6.8000000000000005E-2</c:v>
                </c:pt>
                <c:pt idx="9">
                  <c:v>5.0000000000000001E-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668986770156853E-2</c:v>
                </c:pt>
                <c:pt idx="1">
                  <c:v>1.9837674558354175E-2</c:v>
                </c:pt>
                <c:pt idx="2">
                  <c:v>2.0649080415175616E-2</c:v>
                </c:pt>
                <c:pt idx="3">
                  <c:v>3.8118183467068141E-2</c:v>
                </c:pt>
                <c:pt idx="4">
                  <c:v>6.1661417397453615E-2</c:v>
                </c:pt>
                <c:pt idx="5">
                  <c:v>9.9246828777930327E-2</c:v>
                </c:pt>
                <c:pt idx="6">
                  <c:v>0.13320160439496909</c:v>
                </c:pt>
                <c:pt idx="7">
                  <c:v>0.17855094253158701</c:v>
                </c:pt>
                <c:pt idx="8">
                  <c:v>0.24422796421949797</c:v>
                </c:pt>
                <c:pt idx="9">
                  <c:v>9.5230577342037964E-2</c:v>
                </c:pt>
                <c:pt idx="10">
                  <c:v>9.258585919435757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9714416230522547E-2</c:v>
                </c:pt>
                <c:pt idx="1">
                  <c:v>2.2345770538797674E-2</c:v>
                </c:pt>
                <c:pt idx="2">
                  <c:v>3.4290183944523427E-2</c:v>
                </c:pt>
                <c:pt idx="3">
                  <c:v>8.0807880654489975E-2</c:v>
                </c:pt>
                <c:pt idx="4">
                  <c:v>0.16453614933211275</c:v>
                </c:pt>
                <c:pt idx="5">
                  <c:v>0.12102190703651872</c:v>
                </c:pt>
                <c:pt idx="6">
                  <c:v>6.8379321560170542E-2</c:v>
                </c:pt>
                <c:pt idx="7">
                  <c:v>0.27703323856372303</c:v>
                </c:pt>
                <c:pt idx="8">
                  <c:v>0.16530007726544974</c:v>
                </c:pt>
                <c:pt idx="9">
                  <c:v>4.2694142118576014E-2</c:v>
                </c:pt>
                <c:pt idx="10">
                  <c:v>3.876912755115576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2">
                  <c:v>2.5516269030972075E-7</c:v>
                </c:pt>
                <c:pt idx="3">
                  <c:v>7.015941668175954E-2</c:v>
                </c:pt>
                <c:pt idx="4">
                  <c:v>3.9081359199743898E-2</c:v>
                </c:pt>
                <c:pt idx="5">
                  <c:v>4.124769773083601E-2</c:v>
                </c:pt>
                <c:pt idx="6">
                  <c:v>2.2447565871506092E-2</c:v>
                </c:pt>
                <c:pt idx="7">
                  <c:v>7.0072880077931637E-2</c:v>
                </c:pt>
                <c:pt idx="8">
                  <c:v>1.7753607601293627E-2</c:v>
                </c:pt>
                <c:pt idx="9">
                  <c:v>1.3094949266694871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9709750398471171E-2</c:v>
                </c:pt>
                <c:pt idx="1">
                  <c:v>2.2345770538797674E-2</c:v>
                </c:pt>
                <c:pt idx="2">
                  <c:v>2.2673027624663761E-5</c:v>
                </c:pt>
                <c:pt idx="3">
                  <c:v>3.8211269006512912E-3</c:v>
                </c:pt>
                <c:pt idx="4">
                  <c:v>0.11408516349319735</c:v>
                </c:pt>
                <c:pt idx="5">
                  <c:v>1.9640236791268222E-5</c:v>
                </c:pt>
                <c:pt idx="6">
                  <c:v>2.5733055252659218E-2</c:v>
                </c:pt>
                <c:pt idx="7">
                  <c:v>7.3872398343894988E-2</c:v>
                </c:pt>
                <c:pt idx="8">
                  <c:v>3.6807582595306237E-3</c:v>
                </c:pt>
                <c:pt idx="10">
                  <c:v>3.4703583954638081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3.4267255754208456E-2</c:v>
                </c:pt>
                <c:pt idx="3">
                  <c:v>6.8273370720791371E-3</c:v>
                </c:pt>
                <c:pt idx="4">
                  <c:v>9.9118530279817454E-3</c:v>
                </c:pt>
                <c:pt idx="5">
                  <c:v>2.6441787850900917E-2</c:v>
                </c:pt>
                <c:pt idx="6">
                  <c:v>1.4726532412161027E-6</c:v>
                </c:pt>
                <c:pt idx="7">
                  <c:v>6.4171820023489701E-2</c:v>
                </c:pt>
                <c:pt idx="8">
                  <c:v>6.276456862498126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4488502073914959E-3</c:v>
                </c:pt>
                <c:pt idx="5">
                  <c:v>8.9437949423969865E-3</c:v>
                </c:pt>
                <c:pt idx="6">
                  <c:v>5.4633029429465921E-3</c:v>
                </c:pt>
                <c:pt idx="7">
                  <c:v>5.6927277372029003E-2</c:v>
                </c:pt>
                <c:pt idx="8">
                  <c:v>4.2365689413246761E-2</c:v>
                </c:pt>
                <c:pt idx="9">
                  <c:v>4.2318673864966551E-2</c:v>
                </c:pt>
                <c:pt idx="10">
                  <c:v>3.5298769155691955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6658320513777511E-6</c:v>
                </c:pt>
                <c:pt idx="4">
                  <c:v>8.9234037982599497E-6</c:v>
                </c:pt>
                <c:pt idx="5">
                  <c:v>4.4368986275593533E-2</c:v>
                </c:pt>
                <c:pt idx="6">
                  <c:v>1.4733924839817428E-2</c:v>
                </c:pt>
                <c:pt idx="7">
                  <c:v>1.1988862746377713E-2</c:v>
                </c:pt>
                <c:pt idx="8">
                  <c:v>3.8735453366397464E-2</c:v>
                </c:pt>
                <c:pt idx="9">
                  <c:v>2.4451876094251526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0.2414</c:v>
                </c:pt>
                <c:pt idx="4">
                  <c:v>0.26279999999999998</c:v>
                </c:pt>
                <c:pt idx="5">
                  <c:v>0.1242</c:v>
                </c:pt>
                <c:pt idx="6">
                  <c:v>0.1134</c:v>
                </c:pt>
                <c:pt idx="7">
                  <c:v>0.14369999999999999</c:v>
                </c:pt>
                <c:pt idx="8">
                  <c:v>6.4399999999999999E-2</c:v>
                </c:pt>
                <c:pt idx="9">
                  <c:v>4.9799999999999997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6805477649151867E-2</c:v>
                </c:pt>
                <c:pt idx="1">
                  <c:v>4.5407020016068167E-2</c:v>
                </c:pt>
                <c:pt idx="2">
                  <c:v>3.4094052235638918E-2</c:v>
                </c:pt>
                <c:pt idx="3">
                  <c:v>0.10811884818817145</c:v>
                </c:pt>
                <c:pt idx="4">
                  <c:v>0.16540679175863299</c:v>
                </c:pt>
                <c:pt idx="5">
                  <c:v>9.9729932584249212E-2</c:v>
                </c:pt>
                <c:pt idx="6">
                  <c:v>9.5739273110062556E-2</c:v>
                </c:pt>
                <c:pt idx="7">
                  <c:v>0.19579893844579263</c:v>
                </c:pt>
                <c:pt idx="8">
                  <c:v>0.18662621492811068</c:v>
                </c:pt>
                <c:pt idx="9">
                  <c:v>2.094787125337853E-2</c:v>
                </c:pt>
                <c:pt idx="10">
                  <c:v>1.132557983074297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5.9131908028297804E-6</c:v>
                </c:pt>
                <c:pt idx="1">
                  <c:v>2.0055227548059046E-5</c:v>
                </c:pt>
                <c:pt idx="2">
                  <c:v>3.1137291430285486E-5</c:v>
                </c:pt>
                <c:pt idx="3">
                  <c:v>6.7302200976453883E-2</c:v>
                </c:pt>
                <c:pt idx="4">
                  <c:v>7.3258272750350337E-2</c:v>
                </c:pt>
                <c:pt idx="5">
                  <c:v>3.46323593536196E-2</c:v>
                </c:pt>
                <c:pt idx="6">
                  <c:v>3.1598520312906206E-2</c:v>
                </c:pt>
                <c:pt idx="7">
                  <c:v>4.0062529304925924E-2</c:v>
                </c:pt>
                <c:pt idx="8">
                  <c:v>1.7947940020065979E-2</c:v>
                </c:pt>
                <c:pt idx="9">
                  <c:v>1.3892483552955994E-2</c:v>
                </c:pt>
                <c:pt idx="10">
                  <c:v>1.2405295390551985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3.6797620962071183E-2</c:v>
                </c:pt>
                <c:pt idx="1">
                  <c:v>4.5384731835349808E-2</c:v>
                </c:pt>
                <c:pt idx="2">
                  <c:v>6.2928341927653061E-3</c:v>
                </c:pt>
                <c:pt idx="3">
                  <c:v>8.6582345668511241E-3</c:v>
                </c:pt>
                <c:pt idx="4">
                  <c:v>7.5227530691631198E-2</c:v>
                </c:pt>
                <c:pt idx="5">
                  <c:v>5.5666695515870282E-4</c:v>
                </c:pt>
                <c:pt idx="6">
                  <c:v>9.3927521069257069E-3</c:v>
                </c:pt>
                <c:pt idx="7">
                  <c:v>4.3276493234710132E-2</c:v>
                </c:pt>
                <c:pt idx="8">
                  <c:v>4.9627715017780301E-2</c:v>
                </c:pt>
                <c:pt idx="10">
                  <c:v>5.7403436870547562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9434962778531443E-6</c:v>
                </c:pt>
                <c:pt idx="1">
                  <c:v>2.2329531702993578E-6</c:v>
                </c:pt>
                <c:pt idx="2">
                  <c:v>2.7770080751443327E-2</c:v>
                </c:pt>
                <c:pt idx="3">
                  <c:v>3.1861967436016901E-2</c:v>
                </c:pt>
                <c:pt idx="4">
                  <c:v>1.691900346938896E-2</c:v>
                </c:pt>
                <c:pt idx="5">
                  <c:v>2.0802357138447355E-2</c:v>
                </c:pt>
                <c:pt idx="6">
                  <c:v>1.7400080824634567E-2</c:v>
                </c:pt>
                <c:pt idx="7">
                  <c:v>5.1980627394506297E-2</c:v>
                </c:pt>
                <c:pt idx="8">
                  <c:v>6.171832941525862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1.8649087315539978E-2</c:v>
                </c:pt>
                <c:pt idx="6">
                  <c:v>8.1119053578512148E-3</c:v>
                </c:pt>
                <c:pt idx="7">
                  <c:v>2.9251355723044502E-2</c:v>
                </c:pt>
                <c:pt idx="8">
                  <c:v>2.9765183058121165E-2</c:v>
                </c:pt>
                <c:pt idx="9">
                  <c:v>7.0543952767912928E-3</c:v>
                </c:pt>
                <c:pt idx="10">
                  <c:v>1.075142140908359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3">
                  <c:v>2.9644520884955728E-4</c:v>
                </c:pt>
                <c:pt idx="4">
                  <c:v>1.9848472624883176E-6</c:v>
                </c:pt>
                <c:pt idx="5">
                  <c:v>2.5089461821483583E-2</c:v>
                </c:pt>
                <c:pt idx="6">
                  <c:v>2.9236014507744851E-2</c:v>
                </c:pt>
                <c:pt idx="7">
                  <c:v>3.1227932788605785E-2</c:v>
                </c:pt>
                <c:pt idx="8">
                  <c:v>2.7567047416884625E-2</c:v>
                </c:pt>
                <c:pt idx="9">
                  <c:v>9.9242363124415881E-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32E-2</c:v>
                </c:pt>
                <c:pt idx="3">
                  <c:v>0.2707</c:v>
                </c:pt>
                <c:pt idx="4">
                  <c:v>0.31019999999999998</c:v>
                </c:pt>
                <c:pt idx="5">
                  <c:v>4.1000000000000003E-3</c:v>
                </c:pt>
                <c:pt idx="6">
                  <c:v>3.4200000000000001E-2</c:v>
                </c:pt>
                <c:pt idx="7">
                  <c:v>0.33479999999999999</c:v>
                </c:pt>
                <c:pt idx="8">
                  <c:v>1.2800000000000001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3.8897799983816629E-2</c:v>
                </c:pt>
                <c:pt idx="2">
                  <c:v>1.763736145551981E-2</c:v>
                </c:pt>
                <c:pt idx="3">
                  <c:v>0.22477381694972196</c:v>
                </c:pt>
                <c:pt idx="4">
                  <c:v>0.11083399654413399</c:v>
                </c:pt>
                <c:pt idx="5">
                  <c:v>0.10979447122894243</c:v>
                </c:pt>
                <c:pt idx="6">
                  <c:v>1.7616876179823847E-2</c:v>
                </c:pt>
                <c:pt idx="7">
                  <c:v>0.22932390396093047</c:v>
                </c:pt>
                <c:pt idx="8">
                  <c:v>0.16853226072429789</c:v>
                </c:pt>
                <c:pt idx="9">
                  <c:v>8.214544340891376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2">
                  <c:v>9.6249555725583351E-3</c:v>
                </c:pt>
                <c:pt idx="3">
                  <c:v>7.8447697506224962E-2</c:v>
                </c:pt>
                <c:pt idx="4">
                  <c:v>8.9890567657232176E-2</c:v>
                </c:pt>
                <c:pt idx="5">
                  <c:v>1.1853292649575801E-3</c:v>
                </c:pt>
                <c:pt idx="6">
                  <c:v>9.9112373004093986E-3</c:v>
                </c:pt>
                <c:pt idx="7">
                  <c:v>9.702676708548813E-2</c:v>
                </c:pt>
                <c:pt idx="8">
                  <c:v>3.708295819672215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8.8598817385034079E-6</c:v>
                </c:pt>
                <c:pt idx="3">
                  <c:v>0.14632611944349699</c:v>
                </c:pt>
                <c:pt idx="4">
                  <c:v>1.0608453658721453E-2</c:v>
                </c:pt>
                <c:pt idx="5">
                  <c:v>1.7975829423206335E-5</c:v>
                </c:pt>
                <c:pt idx="6">
                  <c:v>6.4528618442279151E-6</c:v>
                </c:pt>
                <c:pt idx="7">
                  <c:v>2.055856176976394E-2</c:v>
                </c:pt>
                <c:pt idx="8">
                  <c:v>6.343675324768439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5">
                  <c:v>1.4851824879572185E-6</c:v>
                </c:pt>
                <c:pt idx="6">
                  <c:v>1.3315429202375063E-6</c:v>
                </c:pt>
                <c:pt idx="7">
                  <c:v>4.3669281612109256E-2</c:v>
                </c:pt>
                <c:pt idx="8">
                  <c:v>1.3213002823895256E-5</c:v>
                </c:pt>
                <c:pt idx="9">
                  <c:v>8.214544340891376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1">
                  <c:v>3.8897799983816629E-2</c:v>
                </c:pt>
                <c:pt idx="2">
                  <c:v>8.0035460012229716E-3</c:v>
                </c:pt>
                <c:pt idx="4">
                  <c:v>7.4648344636084199E-4</c:v>
                </c:pt>
                <c:pt idx="5">
                  <c:v>5.2241447653462884E-2</c:v>
                </c:pt>
                <c:pt idx="6">
                  <c:v>7.6509944064954713E-3</c:v>
                </c:pt>
                <c:pt idx="7">
                  <c:v>6.4911846737361348E-2</c:v>
                </c:pt>
                <c:pt idx="8">
                  <c:v>6.1714556119924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4">
                  <c:v>9.5884917818195217E-3</c:v>
                </c:pt>
                <c:pt idx="5">
                  <c:v>5.6348233298610793E-2</c:v>
                </c:pt>
                <c:pt idx="6">
                  <c:v>4.6860068154512241E-5</c:v>
                </c:pt>
                <c:pt idx="7">
                  <c:v>3.1574467562078068E-3</c:v>
                </c:pt>
                <c:pt idx="8">
                  <c:v>3.965944253419248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1.2574445260241806E-2</c:v>
                </c:pt>
                <c:pt idx="2">
                  <c:v>7.6663425080420455E-3</c:v>
                </c:pt>
                <c:pt idx="3">
                  <c:v>5.7978765788628567E-2</c:v>
                </c:pt>
                <c:pt idx="4">
                  <c:v>2.3980990241791268E-2</c:v>
                </c:pt>
                <c:pt idx="5">
                  <c:v>2.1307474066270562E-2</c:v>
                </c:pt>
                <c:pt idx="6">
                  <c:v>0.18064157338881034</c:v>
                </c:pt>
                <c:pt idx="7">
                  <c:v>0.14442246881480472</c:v>
                </c:pt>
                <c:pt idx="8">
                  <c:v>0.30330573706980096</c:v>
                </c:pt>
                <c:pt idx="9">
                  <c:v>0.14396439387256088</c:v>
                </c:pt>
                <c:pt idx="10">
                  <c:v>0.1040218862058693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2">
                  <c:v>3.6126010037809816E-3</c:v>
                </c:pt>
                <c:pt idx="3">
                  <c:v>7.197671426231757E-4</c:v>
                </c:pt>
                <c:pt idx="4">
                  <c:v>1.0449500378745325E-3</c:v>
                </c:pt>
                <c:pt idx="5">
                  <c:v>2.7876066299880723E-3</c:v>
                </c:pt>
                <c:pt idx="6">
                  <c:v>3.099803575988866E-4</c:v>
                </c:pt>
                <c:pt idx="7">
                  <c:v>6.7797807202262927E-3</c:v>
                </c:pt>
                <c:pt idx="8">
                  <c:v>7.2597766362928213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3.4533663348811457E-4</c:v>
                </c:pt>
                <c:pt idx="1">
                  <c:v>2.5304585493472645E-3</c:v>
                </c:pt>
                <c:pt idx="2">
                  <c:v>3.0227502286779089E-3</c:v>
                </c:pt>
                <c:pt idx="3">
                  <c:v>4.7076879040763219E-3</c:v>
                </c:pt>
                <c:pt idx="4">
                  <c:v>1.9777845117453324E-2</c:v>
                </c:pt>
                <c:pt idx="5">
                  <c:v>1.4499385699885904E-2</c:v>
                </c:pt>
                <c:pt idx="6">
                  <c:v>3.3397169132235692E-2</c:v>
                </c:pt>
                <c:pt idx="7">
                  <c:v>5.5179989937272779E-2</c:v>
                </c:pt>
                <c:pt idx="8">
                  <c:v>0.12121172341308468</c:v>
                </c:pt>
                <c:pt idx="9">
                  <c:v>6.6540370573153429E-2</c:v>
                </c:pt>
                <c:pt idx="10">
                  <c:v>7.783189785536387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7.2188842694677618E-4</c:v>
                </c:pt>
                <c:pt idx="3">
                  <c:v>3.0442812645624536E-4</c:v>
                </c:pt>
                <c:pt idx="4">
                  <c:v>9.0734632042520802E-4</c:v>
                </c:pt>
                <c:pt idx="5">
                  <c:v>2.0924388534221509E-2</c:v>
                </c:pt>
                <c:pt idx="6">
                  <c:v>9.7264982775286581E-3</c:v>
                </c:pt>
                <c:pt idx="7">
                  <c:v>2.450657523972223E-3</c:v>
                </c:pt>
                <c:pt idx="8">
                  <c:v>1.1353843852122596E-3</c:v>
                </c:pt>
                <c:pt idx="10">
                  <c:v>7.472147171755019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5.6586027913319432E-5</c:v>
                </c:pt>
                <c:pt idx="4">
                  <c:v>5.5066542729349088E-3</c:v>
                </c:pt>
                <c:pt idx="5">
                  <c:v>5.1648661792011654E-7</c:v>
                </c:pt>
                <c:pt idx="6">
                  <c:v>1.2547394468353E-2</c:v>
                </c:pt>
                <c:pt idx="7">
                  <c:v>2.855733674351821E-3</c:v>
                </c:pt>
                <c:pt idx="8">
                  <c:v>1.644391785012875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6287945040167097E-2</c:v>
                </c:pt>
                <c:pt idx="1">
                  <c:v>1.7307216009006914E-2</c:v>
                </c:pt>
                <c:pt idx="2">
                  <c:v>1.3291840755769949E-2</c:v>
                </c:pt>
                <c:pt idx="3">
                  <c:v>3.2386300293912394E-2</c:v>
                </c:pt>
                <c:pt idx="4">
                  <c:v>3.4424621648765627E-2</c:v>
                </c:pt>
                <c:pt idx="5">
                  <c:v>6.1034931427216922E-2</c:v>
                </c:pt>
                <c:pt idx="6">
                  <c:v>7.7220562159252853E-2</c:v>
                </c:pt>
                <c:pt idx="7">
                  <c:v>0.11128478067576386</c:v>
                </c:pt>
                <c:pt idx="8">
                  <c:v>9.8177161934779461E-2</c:v>
                </c:pt>
                <c:pt idx="9">
                  <c:v>2.8690206768884542E-2</c:v>
                </c:pt>
                <c:pt idx="10">
                  <c:v>1.474648919182195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1.1275926362546224E-2</c:v>
                </c:pt>
                <c:pt idx="2">
                  <c:v>4.8657953197085244E-3</c:v>
                </c:pt>
                <c:pt idx="3">
                  <c:v>4.2149154401220919E-2</c:v>
                </c:pt>
                <c:pt idx="4">
                  <c:v>2.2483264789837858E-2</c:v>
                </c:pt>
                <c:pt idx="6">
                  <c:v>9.4448161682550907E-2</c:v>
                </c:pt>
                <c:pt idx="7">
                  <c:v>1.973482085823482E-2</c:v>
                </c:pt>
                <c:pt idx="8">
                  <c:v>0.1011592225058878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6">
                  <c:v>5.3197161916266004E-3</c:v>
                </c:pt>
                <c:pt idx="7">
                  <c:v>6.4896763399019636E-4</c:v>
                </c:pt>
                <c:pt idx="8">
                  <c:v>2.0839242822610453E-2</c:v>
                </c:pt>
                <c:pt idx="9">
                  <c:v>6.557852873425947E-2</c:v>
                </c:pt>
                <c:pt idx="10">
                  <c:v>9.995731721349586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Tartar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1.0286759823200477E-3</c:v>
                </c:pt>
                <c:pt idx="6">
                  <c:v>4.0806703062807497E-3</c:v>
                </c:pt>
                <c:pt idx="7">
                  <c:v>4.8291170530388838E-2</c:v>
                </c:pt>
                <c:pt idx="8">
                  <c:v>4.2742425450430249E-2</c:v>
                </c:pt>
                <c:pt idx="9">
                  <c:v>1.03754772617691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1.2985188976955815E-3</c:v>
                </c:pt>
                <c:pt idx="2">
                  <c:v>2.8005471883335211E-3</c:v>
                </c:pt>
                <c:pt idx="3">
                  <c:v>1.5829611387407648E-2</c:v>
                </c:pt>
                <c:pt idx="4">
                  <c:v>1.4977254519534103E-3</c:v>
                </c:pt>
                <c:pt idx="5">
                  <c:v>2.0278798083950514E-2</c:v>
                </c:pt>
                <c:pt idx="6">
                  <c:v>7.6793025208352086E-2</c:v>
                </c:pt>
                <c:pt idx="7">
                  <c:v>7.5747509792190859E-2</c:v>
                </c:pt>
                <c:pt idx="8">
                  <c:v>0.13856484629087237</c:v>
                </c:pt>
                <c:pt idx="9">
                  <c:v>6.8010387876532283E-2</c:v>
                </c:pt>
                <c:pt idx="10">
                  <c:v>4.064568992373481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2.7505558144520048E-2</c:v>
                </c:pt>
                <c:pt idx="2">
                  <c:v>4.4503254509310457E-3</c:v>
                </c:pt>
                <c:pt idx="3">
                  <c:v>6.4716249229014172E-2</c:v>
                </c:pt>
                <c:pt idx="4">
                  <c:v>2.4844439046991046E-2</c:v>
                </c:pt>
                <c:pt idx="5">
                  <c:v>6.5073631970893664E-2</c:v>
                </c:pt>
                <c:pt idx="6">
                  <c:v>0.12226394010157357</c:v>
                </c:pt>
                <c:pt idx="7">
                  <c:v>0.24437305930213671</c:v>
                </c:pt>
                <c:pt idx="8">
                  <c:v>0.24572902336939234</c:v>
                </c:pt>
                <c:pt idx="9">
                  <c:v>0.15850126894474115</c:v>
                </c:pt>
                <c:pt idx="10">
                  <c:v>4.243778455336497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2.0651530316272263E-2</c:v>
                </c:pt>
                <c:pt idx="2">
                  <c:v>1.5243385401751135E-3</c:v>
                </c:pt>
                <c:pt idx="3">
                  <c:v>4.4125305402096381E-2</c:v>
                </c:pt>
                <c:pt idx="4">
                  <c:v>2.1155372551616352E-2</c:v>
                </c:pt>
                <c:pt idx="5">
                  <c:v>2.8571873614088271E-2</c:v>
                </c:pt>
                <c:pt idx="6">
                  <c:v>5.0025323601643933E-2</c:v>
                </c:pt>
                <c:pt idx="7">
                  <c:v>7.3200178367703553E-2</c:v>
                </c:pt>
                <c:pt idx="8">
                  <c:v>5.783201244447165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7">
                  <c:v>8.6061472933415747E-3</c:v>
                </c:pt>
                <c:pt idx="8">
                  <c:v>1.6702687025974779E-2</c:v>
                </c:pt>
                <c:pt idx="9">
                  <c:v>6.726550078526429E-2</c:v>
                </c:pt>
                <c:pt idx="10">
                  <c:v>3.709366509420507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rre Fra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4.3829958909750677E-7</c:v>
                </c:pt>
                <c:pt idx="6">
                  <c:v>3.6097005543950355E-3</c:v>
                </c:pt>
                <c:pt idx="7">
                  <c:v>4.4859726936658767E-2</c:v>
                </c:pt>
                <c:pt idx="8">
                  <c:v>2.577235299246347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6.8540278282477884E-3</c:v>
                </c:pt>
                <c:pt idx="2">
                  <c:v>2.9259869107559327E-3</c:v>
                </c:pt>
                <c:pt idx="3">
                  <c:v>2.0590943826917785E-2</c:v>
                </c:pt>
                <c:pt idx="4">
                  <c:v>3.6890664953746922E-3</c:v>
                </c:pt>
                <c:pt idx="5">
                  <c:v>3.6501320057216305E-2</c:v>
                </c:pt>
                <c:pt idx="6">
                  <c:v>6.8628915945534608E-2</c:v>
                </c:pt>
                <c:pt idx="7">
                  <c:v>0.11770700670443281</c:v>
                </c:pt>
                <c:pt idx="8">
                  <c:v>0.14542197090648246</c:v>
                </c:pt>
                <c:pt idx="9">
                  <c:v>9.1235768159476857E-2</c:v>
                </c:pt>
                <c:pt idx="10">
                  <c:v>5.344119459159885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5.9436752523768597E-3</c:v>
                </c:pt>
                <c:pt idx="2">
                  <c:v>4.2520320660761161E-3</c:v>
                </c:pt>
                <c:pt idx="3">
                  <c:v>8.4944165828123794E-2</c:v>
                </c:pt>
                <c:pt idx="4">
                  <c:v>2.7677276536064312E-2</c:v>
                </c:pt>
                <c:pt idx="5">
                  <c:v>0.10953939421161027</c:v>
                </c:pt>
                <c:pt idx="6">
                  <c:v>0.12398962027820842</c:v>
                </c:pt>
                <c:pt idx="7">
                  <c:v>0.1210615521418764</c:v>
                </c:pt>
                <c:pt idx="8">
                  <c:v>0.3262023710047276</c:v>
                </c:pt>
                <c:pt idx="9">
                  <c:v>0.10121561452946574</c:v>
                </c:pt>
                <c:pt idx="10">
                  <c:v>9.505555908267231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5.9393624131633136E-3</c:v>
                </c:pt>
                <c:pt idx="2">
                  <c:v>3.4217133814501135E-3</c:v>
                </c:pt>
                <c:pt idx="3">
                  <c:v>7.5558495193670958E-2</c:v>
                </c:pt>
                <c:pt idx="4">
                  <c:v>2.5939862857929714E-2</c:v>
                </c:pt>
                <c:pt idx="5">
                  <c:v>7.0621965033675502E-2</c:v>
                </c:pt>
                <c:pt idx="6">
                  <c:v>2.4278526109345784E-2</c:v>
                </c:pt>
                <c:pt idx="7">
                  <c:v>2.7375105810264758E-2</c:v>
                </c:pt>
                <c:pt idx="8">
                  <c:v>0.101702848797374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8">
                  <c:v>1.9978081451737427E-2</c:v>
                </c:pt>
                <c:pt idx="9">
                  <c:v>3.3012064371184549E-2</c:v>
                </c:pt>
                <c:pt idx="10">
                  <c:v>8.991189607720463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3.7972412282872832E-4</c:v>
                </c:pt>
                <c:pt idx="5">
                  <c:v>2.9629555086729643E-2</c:v>
                </c:pt>
                <c:pt idx="6">
                  <c:v>4.0721750145490329E-3</c:v>
                </c:pt>
                <c:pt idx="7">
                  <c:v>2.1327844707948126E-2</c:v>
                </c:pt>
                <c:pt idx="8">
                  <c:v>6.9933581499023234E-2</c:v>
                </c:pt>
                <c:pt idx="9">
                  <c:v>9.431985087989302E-3</c:v>
                </c:pt>
                <c:pt idx="10">
                  <c:v>4.0408583622416603E-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4.3128392135463874E-6</c:v>
                </c:pt>
                <c:pt idx="2">
                  <c:v>8.3031868462600262E-4</c:v>
                </c:pt>
                <c:pt idx="3">
                  <c:v>9.3856706344528397E-3</c:v>
                </c:pt>
                <c:pt idx="4">
                  <c:v>1.3576895553058684E-3</c:v>
                </c:pt>
                <c:pt idx="5">
                  <c:v>9.2878740912051248E-3</c:v>
                </c:pt>
                <c:pt idx="6">
                  <c:v>9.563891915431362E-2</c:v>
                </c:pt>
                <c:pt idx="7">
                  <c:v>7.2358601623663518E-2</c:v>
                </c:pt>
                <c:pt idx="8">
                  <c:v>0.13458785925659242</c:v>
                </c:pt>
                <c:pt idx="9">
                  <c:v>5.8771565070291895E-2</c:v>
                </c:pt>
                <c:pt idx="10">
                  <c:v>5.139622147105428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1440326896023377E-3</c:v>
                </c:pt>
                <c:pt idx="1">
                  <c:v>1.6414059402893172E-2</c:v>
                </c:pt>
                <c:pt idx="2">
                  <c:v>1.8161040186737358E-2</c:v>
                </c:pt>
                <c:pt idx="3">
                  <c:v>4.1076518711765486E-2</c:v>
                </c:pt>
                <c:pt idx="4">
                  <c:v>7.1941890867163433E-2</c:v>
                </c:pt>
                <c:pt idx="5">
                  <c:v>9.2447332939716881E-2</c:v>
                </c:pt>
                <c:pt idx="6">
                  <c:v>0.10831682527395142</c:v>
                </c:pt>
                <c:pt idx="7">
                  <c:v>0.18902377510261559</c:v>
                </c:pt>
                <c:pt idx="8">
                  <c:v>0.19576873044059107</c:v>
                </c:pt>
                <c:pt idx="9">
                  <c:v>4.9546663979823755E-2</c:v>
                </c:pt>
                <c:pt idx="10">
                  <c:v>0.2111591304051395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6.6405484166825383E-4</c:v>
                </c:pt>
                <c:pt idx="1">
                  <c:v>6.790208995048167E-3</c:v>
                </c:pt>
                <c:pt idx="2">
                  <c:v>1.4241990441861871E-4</c:v>
                </c:pt>
                <c:pt idx="3">
                  <c:v>1.3291292839119345E-2</c:v>
                </c:pt>
                <c:pt idx="4">
                  <c:v>5.2403168692109203E-2</c:v>
                </c:pt>
                <c:pt idx="5">
                  <c:v>2.0836488083426047E-3</c:v>
                </c:pt>
                <c:pt idx="6">
                  <c:v>3.6513051205990646E-2</c:v>
                </c:pt>
                <c:pt idx="7">
                  <c:v>8.9712340991130943E-2</c:v>
                </c:pt>
                <c:pt idx="8">
                  <c:v>0.14536600164662383</c:v>
                </c:pt>
                <c:pt idx="9">
                  <c:v>4.3141134383930919E-2</c:v>
                </c:pt>
                <c:pt idx="10">
                  <c:v>0.1750121406740338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6605486613245063E-5</c:v>
                </c:pt>
                <c:pt idx="1">
                  <c:v>2.5938176798877442E-3</c:v>
                </c:pt>
                <c:pt idx="3">
                  <c:v>2.5128979861358792E-3</c:v>
                </c:pt>
                <c:pt idx="4">
                  <c:v>9.7186763698980418E-3</c:v>
                </c:pt>
                <c:pt idx="5">
                  <c:v>4.3533327564330253E-2</c:v>
                </c:pt>
                <c:pt idx="6">
                  <c:v>1.3964839824646375E-2</c:v>
                </c:pt>
                <c:pt idx="7">
                  <c:v>1.4901842095617924E-2</c:v>
                </c:pt>
                <c:pt idx="8">
                  <c:v>1.5256675085942925E-2</c:v>
                </c:pt>
                <c:pt idx="9">
                  <c:v>2.6461277189915801E-3</c:v>
                </c:pt>
                <c:pt idx="10">
                  <c:v>2.446929473644236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3211287943793168E-6</c:v>
                </c:pt>
                <c:pt idx="5">
                  <c:v>2.3018579860218401E-2</c:v>
                </c:pt>
                <c:pt idx="6">
                  <c:v>1.1311895525152703E-2</c:v>
                </c:pt>
                <c:pt idx="7">
                  <c:v>3.585702971554603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5.4020512325264596E-3</c:v>
                </c:pt>
                <c:pt idx="1">
                  <c:v>7.030032727957259E-3</c:v>
                </c:pt>
                <c:pt idx="2">
                  <c:v>1.801862028231874E-2</c:v>
                </c:pt>
                <c:pt idx="3">
                  <c:v>2.5272327886510269E-2</c:v>
                </c:pt>
                <c:pt idx="4">
                  <c:v>9.8200458051561825E-3</c:v>
                </c:pt>
                <c:pt idx="5">
                  <c:v>2.3811776706825629E-2</c:v>
                </c:pt>
                <c:pt idx="6">
                  <c:v>4.652703871816171E-2</c:v>
                </c:pt>
                <c:pt idx="7">
                  <c:v>4.8552562300320679E-2</c:v>
                </c:pt>
                <c:pt idx="8">
                  <c:v>3.5146053708024289E-2</c:v>
                </c:pt>
                <c:pt idx="9">
                  <c:v>3.7594018769012555E-3</c:v>
                </c:pt>
                <c:pt idx="10">
                  <c:v>1.167769499466331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1152</c:v>
                </c:pt>
                <c:pt idx="3">
                  <c:v>0.1321</c:v>
                </c:pt>
                <c:pt idx="4">
                  <c:v>7.0199999999999999E-2</c:v>
                </c:pt>
                <c:pt idx="5">
                  <c:v>8.6300000000000002E-2</c:v>
                </c:pt>
                <c:pt idx="6">
                  <c:v>9.5299999999999996E-2</c:v>
                </c:pt>
                <c:pt idx="7">
                  <c:v>0.22919999999999999</c:v>
                </c:pt>
                <c:pt idx="8">
                  <c:v>0.2717</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3549127697873031E-2</c:v>
                </c:pt>
                <c:pt idx="1">
                  <c:v>1.8015538173938125E-2</c:v>
                </c:pt>
                <c:pt idx="2">
                  <c:v>4.8921228940550794E-2</c:v>
                </c:pt>
                <c:pt idx="3">
                  <c:v>4.0205132124715194E-2</c:v>
                </c:pt>
                <c:pt idx="4">
                  <c:v>3.5086445608214598E-2</c:v>
                </c:pt>
                <c:pt idx="5">
                  <c:v>0.12366001487517939</c:v>
                </c:pt>
                <c:pt idx="6">
                  <c:v>0.14971069932300879</c:v>
                </c:pt>
                <c:pt idx="7">
                  <c:v>0.1647679430192327</c:v>
                </c:pt>
                <c:pt idx="8">
                  <c:v>0.16299902679493175</c:v>
                </c:pt>
                <c:pt idx="9">
                  <c:v>0.19665703144981761</c:v>
                </c:pt>
                <c:pt idx="10">
                  <c:v>4.642781199253801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6340458942784401E-3</c:v>
                </c:pt>
                <c:pt idx="1">
                  <c:v>3.8566578448540174E-6</c:v>
                </c:pt>
                <c:pt idx="2">
                  <c:v>2.1473495231655787E-2</c:v>
                </c:pt>
                <c:pt idx="3">
                  <c:v>7.7027599671002046E-3</c:v>
                </c:pt>
                <c:pt idx="4">
                  <c:v>1.1532596509669556E-2</c:v>
                </c:pt>
                <c:pt idx="5">
                  <c:v>5.1033938664164412E-2</c:v>
                </c:pt>
                <c:pt idx="6">
                  <c:v>5.6864616809613855E-2</c:v>
                </c:pt>
                <c:pt idx="7">
                  <c:v>6.9391204270712645E-2</c:v>
                </c:pt>
                <c:pt idx="8">
                  <c:v>0.11028911986485068</c:v>
                </c:pt>
                <c:pt idx="9">
                  <c:v>0.17365204236203063</c:v>
                </c:pt>
                <c:pt idx="10">
                  <c:v>2.015579545358641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6.7867160776327196E-6</c:v>
                </c:pt>
                <c:pt idx="3">
                  <c:v>1.9408505388064049E-6</c:v>
                </c:pt>
                <c:pt idx="4">
                  <c:v>3.1405966905818689E-3</c:v>
                </c:pt>
                <c:pt idx="5">
                  <c:v>1.7672683795853877E-2</c:v>
                </c:pt>
                <c:pt idx="6">
                  <c:v>2.127501509042598E-2</c:v>
                </c:pt>
                <c:pt idx="7">
                  <c:v>3.281277050604384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6766958469579996E-3</c:v>
                </c:pt>
                <c:pt idx="1">
                  <c:v>3.4308227150235131E-3</c:v>
                </c:pt>
                <c:pt idx="2">
                  <c:v>1.3627087281451152E-2</c:v>
                </c:pt>
                <c:pt idx="3">
                  <c:v>7.9725131487615359E-4</c:v>
                </c:pt>
                <c:pt idx="4">
                  <c:v>1.680726480140829E-3</c:v>
                </c:pt>
                <c:pt idx="5">
                  <c:v>1.0681978065784416E-2</c:v>
                </c:pt>
                <c:pt idx="6">
                  <c:v>2.8043387000062883E-2</c:v>
                </c:pt>
                <c:pt idx="7">
                  <c:v>5.3127966136139971E-3</c:v>
                </c:pt>
                <c:pt idx="8">
                  <c:v>1.476432552426067E-2</c:v>
                </c:pt>
                <c:pt idx="9">
                  <c:v>2.6973690356003827E-3</c:v>
                </c:pt>
                <c:pt idx="10">
                  <c:v>1.025156002435905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9.2315992405589582E-3</c:v>
                </c:pt>
                <c:pt idx="1">
                  <c:v>1.4580858801069756E-2</c:v>
                </c:pt>
                <c:pt idx="2">
                  <c:v>1.3820646427443857E-2</c:v>
                </c:pt>
                <c:pt idx="3">
                  <c:v>3.1703179992200035E-2</c:v>
                </c:pt>
                <c:pt idx="4">
                  <c:v>1.8732525927822347E-2</c:v>
                </c:pt>
                <c:pt idx="5">
                  <c:v>4.4271414349376689E-2</c:v>
                </c:pt>
                <c:pt idx="6">
                  <c:v>4.352768042290607E-2</c:v>
                </c:pt>
                <c:pt idx="7">
                  <c:v>5.7251171628862195E-2</c:v>
                </c:pt>
                <c:pt idx="8">
                  <c:v>3.7945581405820404E-2</c:v>
                </c:pt>
                <c:pt idx="9">
                  <c:v>2.030762005218659E-2</c:v>
                </c:pt>
                <c:pt idx="10">
                  <c:v>1.602045651459255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6872184253652326E-3</c:v>
                </c:pt>
                <c:pt idx="1">
                  <c:v>6.4377750810823645E-3</c:v>
                </c:pt>
                <c:pt idx="2">
                  <c:v>2.3401097734032036E-2</c:v>
                </c:pt>
                <c:pt idx="3">
                  <c:v>9.0467878237250693E-2</c:v>
                </c:pt>
                <c:pt idx="4">
                  <c:v>2.6029595140876296E-2</c:v>
                </c:pt>
                <c:pt idx="5">
                  <c:v>0.11858627354648475</c:v>
                </c:pt>
                <c:pt idx="6">
                  <c:v>0.12647657415686708</c:v>
                </c:pt>
                <c:pt idx="7">
                  <c:v>0.19717935221122623</c:v>
                </c:pt>
                <c:pt idx="8">
                  <c:v>0.14705443469514709</c:v>
                </c:pt>
                <c:pt idx="9">
                  <c:v>0.12556180470126249</c:v>
                </c:pt>
                <c:pt idx="10">
                  <c:v>0.1341179960704057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1.6440241072721144E-3</c:v>
                </c:pt>
                <c:pt idx="3">
                  <c:v>8.3105556641202921E-2</c:v>
                </c:pt>
                <c:pt idx="4">
                  <c:v>2.773710780301409E-3</c:v>
                </c:pt>
                <c:pt idx="5">
                  <c:v>2.1370621553664488E-7</c:v>
                </c:pt>
                <c:pt idx="6">
                  <c:v>3.3712422633675153E-2</c:v>
                </c:pt>
                <c:pt idx="7">
                  <c:v>8.9253011828478751E-2</c:v>
                </c:pt>
                <c:pt idx="8">
                  <c:v>9.453996113004498E-2</c:v>
                </c:pt>
                <c:pt idx="9">
                  <c:v>0.11749617594988361</c:v>
                </c:pt>
                <c:pt idx="10">
                  <c:v>9.161740397062230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4900335880278075E-4</c:v>
                </c:pt>
                <c:pt idx="1">
                  <c:v>2.5669678256209994E-3</c:v>
                </c:pt>
                <c:pt idx="2">
                  <c:v>6.9857000088670274E-4</c:v>
                </c:pt>
                <c:pt idx="3">
                  <c:v>5.2194003286053624E-3</c:v>
                </c:pt>
                <c:pt idx="4">
                  <c:v>1.6969502324348941E-2</c:v>
                </c:pt>
                <c:pt idx="5">
                  <c:v>7.1178826458318301E-2</c:v>
                </c:pt>
                <c:pt idx="6">
                  <c:v>1.5141958004484733E-2</c:v>
                </c:pt>
                <c:pt idx="7">
                  <c:v>3.2898255379034416E-2</c:v>
                </c:pt>
                <c:pt idx="8">
                  <c:v>2.4180270595878645E-2</c:v>
                </c:pt>
                <c:pt idx="9">
                  <c:v>5.3061294344106504E-3</c:v>
                </c:pt>
                <c:pt idx="10">
                  <c:v>3.221516126992282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6195013190392843E-3</c:v>
                </c:pt>
                <c:pt idx="5">
                  <c:v>3.440762676166715E-2</c:v>
                </c:pt>
                <c:pt idx="6">
                  <c:v>1.8093632635774282E-2</c:v>
                </c:pt>
                <c:pt idx="7">
                  <c:v>3.96991173203135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4382150665624514E-3</c:v>
                </c:pt>
                <c:pt idx="1">
                  <c:v>3.8708072554613647E-3</c:v>
                </c:pt>
                <c:pt idx="2">
                  <c:v>2.1058503625873217E-2</c:v>
                </c:pt>
                <c:pt idx="3">
                  <c:v>2.1429212674424119E-3</c:v>
                </c:pt>
                <c:pt idx="4">
                  <c:v>4.6668807171866616E-3</c:v>
                </c:pt>
                <c:pt idx="5">
                  <c:v>1.2999606620283752E-2</c:v>
                </c:pt>
                <c:pt idx="6">
                  <c:v>5.9528560882932929E-2</c:v>
                </c:pt>
                <c:pt idx="7">
                  <c:v>3.5328967683399513E-2</c:v>
                </c:pt>
                <c:pt idx="8">
                  <c:v>2.8334202969223475E-2</c:v>
                </c:pt>
                <c:pt idx="9">
                  <c:v>2.759499316968222E-3</c:v>
                </c:pt>
                <c:pt idx="10">
                  <c:v>1.028543082986059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4366118400716372E-2</c:v>
                </c:pt>
                <c:pt idx="1">
                  <c:v>1.7979971027474409E-2</c:v>
                </c:pt>
                <c:pt idx="2">
                  <c:v>1.1086532584295801E-2</c:v>
                </c:pt>
                <c:pt idx="3">
                  <c:v>1.3960396047619254E-2</c:v>
                </c:pt>
                <c:pt idx="4">
                  <c:v>2.7231768358389325E-2</c:v>
                </c:pt>
                <c:pt idx="5">
                  <c:v>0.14762693303421914</c:v>
                </c:pt>
                <c:pt idx="6">
                  <c:v>0.13467382647792436</c:v>
                </c:pt>
                <c:pt idx="7">
                  <c:v>0.15483900827319605</c:v>
                </c:pt>
                <c:pt idx="8">
                  <c:v>0.26165380079754724</c:v>
                </c:pt>
                <c:pt idx="9">
                  <c:v>0.18614307658344179</c:v>
                </c:pt>
                <c:pt idx="10">
                  <c:v>2.043856841517618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9713088181788768E-4</c:v>
                </c:pt>
                <c:pt idx="2">
                  <c:v>4.3850338175157249E-8</c:v>
                </c:pt>
                <c:pt idx="4">
                  <c:v>5.4322203703737184E-3</c:v>
                </c:pt>
                <c:pt idx="5">
                  <c:v>2.4861961159286367E-2</c:v>
                </c:pt>
                <c:pt idx="6">
                  <c:v>4.6146567879905231E-2</c:v>
                </c:pt>
                <c:pt idx="7">
                  <c:v>2.2198154308233661E-3</c:v>
                </c:pt>
                <c:pt idx="8">
                  <c:v>0.15182980242764646</c:v>
                </c:pt>
                <c:pt idx="9">
                  <c:v>0.11946298069449059</c:v>
                </c:pt>
                <c:pt idx="10">
                  <c:v>1.342615725832250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3.1681801869492382E-3</c:v>
                </c:pt>
                <c:pt idx="3">
                  <c:v>1.3360557152412469E-3</c:v>
                </c:pt>
                <c:pt idx="4">
                  <c:v>3.9821065524359512E-3</c:v>
                </c:pt>
                <c:pt idx="5">
                  <c:v>9.1831688531884476E-2</c:v>
                </c:pt>
                <c:pt idx="6">
                  <c:v>4.2687066284737868E-2</c:v>
                </c:pt>
                <c:pt idx="7">
                  <c:v>1.0755297249029471E-2</c:v>
                </c:pt>
                <c:pt idx="8">
                  <c:v>4.9829061937105013E-3</c:v>
                </c:pt>
                <c:pt idx="10">
                  <c:v>3.279330674914452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5.4336809239452447E-3</c:v>
                </c:pt>
                <c:pt idx="6">
                  <c:v>1.2468830167694218E-2</c:v>
                </c:pt>
                <c:pt idx="7">
                  <c:v>7.1521800620634748E-2</c:v>
                </c:pt>
                <c:pt idx="8">
                  <c:v>3.961723566010963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4168987518898486E-2</c:v>
                </c:pt>
                <c:pt idx="1">
                  <c:v>1.7979971027474409E-2</c:v>
                </c:pt>
                <c:pt idx="2">
                  <c:v>7.9183085470083854E-3</c:v>
                </c:pt>
                <c:pt idx="3">
                  <c:v>7.1906594084327619E-3</c:v>
                </c:pt>
                <c:pt idx="4">
                  <c:v>1.7817441435579659E-2</c:v>
                </c:pt>
                <c:pt idx="5">
                  <c:v>3.0933283343048318E-2</c:v>
                </c:pt>
                <c:pt idx="6">
                  <c:v>3.3371362145587058E-2</c:v>
                </c:pt>
                <c:pt idx="7">
                  <c:v>7.0342094972708491E-2</c:v>
                </c:pt>
                <c:pt idx="8">
                  <c:v>6.5223856516080647E-2</c:v>
                </c:pt>
                <c:pt idx="9">
                  <c:v>6.6680095888951185E-2</c:v>
                </c:pt>
                <c:pt idx="10">
                  <c:v>6.979617850104540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4076700754436693E-2</c:v>
                </c:pt>
                <c:pt idx="1">
                  <c:v>2.6808770478219598E-2</c:v>
                </c:pt>
                <c:pt idx="2">
                  <c:v>3.3618921453349222E-2</c:v>
                </c:pt>
                <c:pt idx="3">
                  <c:v>4.3193698660743136E-2</c:v>
                </c:pt>
                <c:pt idx="4">
                  <c:v>6.0866470201537938E-2</c:v>
                </c:pt>
                <c:pt idx="5">
                  <c:v>0.11629275414523581</c:v>
                </c:pt>
                <c:pt idx="6">
                  <c:v>0.14114999538782796</c:v>
                </c:pt>
                <c:pt idx="7">
                  <c:v>0.18708207317322251</c:v>
                </c:pt>
                <c:pt idx="8">
                  <c:v>0.19672272953911327</c:v>
                </c:pt>
                <c:pt idx="9">
                  <c:v>0.14353338057932885</c:v>
                </c:pt>
                <c:pt idx="10">
                  <c:v>2.665450562698508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365898334756715E-2</c:v>
                </c:pt>
                <c:pt idx="1">
                  <c:v>2.0705941386764733E-2</c:v>
                </c:pt>
                <c:pt idx="2">
                  <c:v>1.6278733415296599E-2</c:v>
                </c:pt>
                <c:pt idx="3">
                  <c:v>1.7548824161276975E-2</c:v>
                </c:pt>
                <c:pt idx="4">
                  <c:v>5.7701549538145838E-2</c:v>
                </c:pt>
                <c:pt idx="5">
                  <c:v>0.14579996000114004</c:v>
                </c:pt>
                <c:pt idx="6">
                  <c:v>0.1286472547711171</c:v>
                </c:pt>
                <c:pt idx="7">
                  <c:v>0.1797236450590925</c:v>
                </c:pt>
                <c:pt idx="8">
                  <c:v>0.24907140238754868</c:v>
                </c:pt>
                <c:pt idx="9">
                  <c:v>0.15553268833943143</c:v>
                </c:pt>
                <c:pt idx="10">
                  <c:v>5.6241026054294277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3.8225773745351076E-5</c:v>
                </c:pt>
                <c:pt idx="2">
                  <c:v>4.0164702922471991E-4</c:v>
                </c:pt>
                <c:pt idx="3">
                  <c:v>4.9040371330939954E-4</c:v>
                </c:pt>
                <c:pt idx="4">
                  <c:v>2.0178929380227327E-2</c:v>
                </c:pt>
                <c:pt idx="5">
                  <c:v>2.1434278531619246E-2</c:v>
                </c:pt>
                <c:pt idx="6">
                  <c:v>2.8178332837032982E-2</c:v>
                </c:pt>
                <c:pt idx="7">
                  <c:v>2.3025306076452531E-2</c:v>
                </c:pt>
                <c:pt idx="8">
                  <c:v>0.10714444829909844</c:v>
                </c:pt>
                <c:pt idx="9">
                  <c:v>0.10232818507711655</c:v>
                </c:pt>
                <c:pt idx="10">
                  <c:v>5.571995163446611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6.756564186376998E-7</c:v>
                </c:pt>
                <c:pt idx="2">
                  <c:v>1.0056265390634238E-2</c:v>
                </c:pt>
                <c:pt idx="3">
                  <c:v>3.0062615741991957E-4</c:v>
                </c:pt>
                <c:pt idx="4">
                  <c:v>2.146562489455665E-2</c:v>
                </c:pt>
                <c:pt idx="5">
                  <c:v>8.4526174028782805E-2</c:v>
                </c:pt>
                <c:pt idx="6">
                  <c:v>2.9315094049735521E-2</c:v>
                </c:pt>
                <c:pt idx="7">
                  <c:v>1.9579949727886542E-2</c:v>
                </c:pt>
                <c:pt idx="8">
                  <c:v>5.2420905612190578E-3</c:v>
                </c:pt>
                <c:pt idx="10">
                  <c:v>3.1428260685117249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1.1561914533476032E-3</c:v>
                </c:pt>
                <c:pt idx="3">
                  <c:v>7.8647021362536103E-3</c:v>
                </c:pt>
                <c:pt idx="5">
                  <c:v>4.1943931491551263E-4</c:v>
                </c:pt>
                <c:pt idx="6">
                  <c:v>3.0147891771798805E-2</c:v>
                </c:pt>
                <c:pt idx="7">
                  <c:v>4.640047933113782E-2</c:v>
                </c:pt>
                <c:pt idx="8">
                  <c:v>5.2855946448045546E-2</c:v>
                </c:pt>
                <c:pt idx="9">
                  <c:v>3.1018771946548947E-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332699690459273E-2</c:v>
                </c:pt>
                <c:pt idx="1">
                  <c:v>2.0705941386764733E-2</c:v>
                </c:pt>
                <c:pt idx="2">
                  <c:v>4.6646295420900369E-3</c:v>
                </c:pt>
                <c:pt idx="3">
                  <c:v>8.8930921542940463E-3</c:v>
                </c:pt>
                <c:pt idx="4">
                  <c:v>1.6056995263361861E-2</c:v>
                </c:pt>
                <c:pt idx="5">
                  <c:v>3.9420068125822459E-2</c:v>
                </c:pt>
                <c:pt idx="6">
                  <c:v>4.1005936112549782E-2</c:v>
                </c:pt>
                <c:pt idx="7">
                  <c:v>9.0717909923615614E-2</c:v>
                </c:pt>
                <c:pt idx="8">
                  <c:v>8.3828917079185619E-2</c:v>
                </c:pt>
                <c:pt idx="9">
                  <c:v>5.3173484490368329E-2</c:v>
                </c:pt>
                <c:pt idx="10">
                  <c:v>2.0679181297699296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352154506864178E-2</c:v>
                </c:pt>
                <c:pt idx="1">
                  <c:v>1.8944882812584778E-3</c:v>
                </c:pt>
                <c:pt idx="2">
                  <c:v>4.1063764779702226E-3</c:v>
                </c:pt>
                <c:pt idx="3">
                  <c:v>1.662843254070168E-2</c:v>
                </c:pt>
                <c:pt idx="4">
                  <c:v>7.2937955575104685E-2</c:v>
                </c:pt>
                <c:pt idx="5">
                  <c:v>0.15797971891225537</c:v>
                </c:pt>
                <c:pt idx="6">
                  <c:v>9.598337906718378E-2</c:v>
                </c:pt>
                <c:pt idx="7">
                  <c:v>0.21068997706434744</c:v>
                </c:pt>
                <c:pt idx="8">
                  <c:v>0.19968366113881508</c:v>
                </c:pt>
                <c:pt idx="9">
                  <c:v>0.15604544109593402</c:v>
                </c:pt>
                <c:pt idx="10">
                  <c:v>4.269841533956509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aprice Des Dieux</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099638059920146E-5</c:v>
                </c:pt>
                <c:pt idx="1">
                  <c:v>4.9652516784552209E-5</c:v>
                </c:pt>
                <c:pt idx="2">
                  <c:v>2.1346000392107782E-3</c:v>
                </c:pt>
                <c:pt idx="3">
                  <c:v>5.4010073745683141E-3</c:v>
                </c:pt>
                <c:pt idx="4">
                  <c:v>2.3980718714754611E-2</c:v>
                </c:pt>
                <c:pt idx="5">
                  <c:v>8.6490681170313916E-2</c:v>
                </c:pt>
                <c:pt idx="6">
                  <c:v>2.5858857114332695E-3</c:v>
                </c:pt>
                <c:pt idx="7">
                  <c:v>5.5749069346889751E-2</c:v>
                </c:pt>
                <c:pt idx="8">
                  <c:v>2.9218058468430861E-3</c:v>
                </c:pt>
                <c:pt idx="9">
                  <c:v>1.099638059920146E-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3.1349330655618196E-7</c:v>
                </c:pt>
                <c:pt idx="4">
                  <c:v>2.4970899380947178E-2</c:v>
                </c:pt>
                <c:pt idx="5">
                  <c:v>6.5450167948010269E-3</c:v>
                </c:pt>
                <c:pt idx="6">
                  <c:v>4.6032296080441418E-2</c:v>
                </c:pt>
                <c:pt idx="7">
                  <c:v>9.341690582588727E-3</c:v>
                </c:pt>
                <c:pt idx="8">
                  <c:v>7.5749001825254486E-2</c:v>
                </c:pt>
                <c:pt idx="9">
                  <c:v>7.3772522986896696E-2</c:v>
                </c:pt>
                <c:pt idx="10">
                  <c:v>4.269841533956509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0309372075318455E-2</c:v>
                </c:pt>
                <c:pt idx="1">
                  <c:v>1.5883500099714985E-3</c:v>
                </c:pt>
                <c:pt idx="3">
                  <c:v>2.5332670656713012E-4</c:v>
                </c:pt>
                <c:pt idx="4">
                  <c:v>4.6541698588725477E-4</c:v>
                </c:pt>
                <c:pt idx="5">
                  <c:v>1.2628571442351353E-2</c:v>
                </c:pt>
                <c:pt idx="6">
                  <c:v>1.7162625135073415E-2</c:v>
                </c:pt>
                <c:pt idx="7">
                  <c:v>5.8732633375124403E-2</c:v>
                </c:pt>
                <c:pt idx="8">
                  <c:v>7.4166487613758882E-3</c:v>
                </c:pt>
                <c:pt idx="9">
                  <c:v>7.049000691855612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103178605094652E-2</c:v>
                </c:pt>
                <c:pt idx="1">
                  <c:v>2.5648575450242704E-4</c:v>
                </c:pt>
                <c:pt idx="2">
                  <c:v>1.9714629454528881E-3</c:v>
                </c:pt>
                <c:pt idx="3">
                  <c:v>1.0974098459566237E-2</c:v>
                </c:pt>
                <c:pt idx="4">
                  <c:v>2.3520920493515632E-2</c:v>
                </c:pt>
                <c:pt idx="5">
                  <c:v>5.2315449504789092E-2</c:v>
                </c:pt>
                <c:pt idx="6">
                  <c:v>3.0202572140235685E-2</c:v>
                </c:pt>
                <c:pt idx="7">
                  <c:v>8.6866583759744515E-2</c:v>
                </c:pt>
                <c:pt idx="8">
                  <c:v>0.11359620470534162</c:v>
                </c:pt>
                <c:pt idx="9">
                  <c:v>1.177191480988198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61116322273985E-2</c:v>
                </c:pt>
                <c:pt idx="1">
                  <c:v>2.3450659593645454E-2</c:v>
                </c:pt>
                <c:pt idx="2">
                  <c:v>4.2418163511807661E-2</c:v>
                </c:pt>
                <c:pt idx="3">
                  <c:v>2.0666175437598685E-2</c:v>
                </c:pt>
                <c:pt idx="4">
                  <c:v>5.0223009271810573E-2</c:v>
                </c:pt>
                <c:pt idx="5">
                  <c:v>7.2486072766880225E-2</c:v>
                </c:pt>
                <c:pt idx="6">
                  <c:v>0.14481255446315666</c:v>
                </c:pt>
                <c:pt idx="7">
                  <c:v>0.16464962829241298</c:v>
                </c:pt>
                <c:pt idx="8">
                  <c:v>0.37080110599668015</c:v>
                </c:pt>
                <c:pt idx="9">
                  <c:v>7.1442598795916912E-2</c:v>
                </c:pt>
                <c:pt idx="10">
                  <c:v>2.938399642692222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4026953427596778E-4</c:v>
                </c:pt>
                <c:pt idx="1">
                  <c:v>1.1616987661786514E-3</c:v>
                </c:pt>
                <c:pt idx="2">
                  <c:v>1.8942375567857307E-2</c:v>
                </c:pt>
                <c:pt idx="3">
                  <c:v>2.6785878801813978E-4</c:v>
                </c:pt>
                <c:pt idx="4">
                  <c:v>9.5626644052705895E-4</c:v>
                </c:pt>
                <c:pt idx="5">
                  <c:v>4.4772201259660138E-2</c:v>
                </c:pt>
                <c:pt idx="6">
                  <c:v>1.6746882082728166E-2</c:v>
                </c:pt>
                <c:pt idx="7">
                  <c:v>9.1466664264135092E-2</c:v>
                </c:pt>
                <c:pt idx="8">
                  <c:v>0.18740549520159638</c:v>
                </c:pt>
                <c:pt idx="9">
                  <c:v>6.9317613526885161E-2</c:v>
                </c:pt>
                <c:pt idx="10">
                  <c:v>2.5421506123166266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6526153264520981E-4</c:v>
                </c:pt>
                <c:pt idx="4">
                  <c:v>3.5545329008789726E-2</c:v>
                </c:pt>
                <c:pt idx="5">
                  <c:v>3.333909458024299E-6</c:v>
                </c:pt>
                <c:pt idx="6">
                  <c:v>8.0993148012353439E-2</c:v>
                </c:pt>
                <c:pt idx="7">
                  <c:v>1.8433696394419587E-2</c:v>
                </c:pt>
                <c:pt idx="8">
                  <c:v>0.1061451184704229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2.3927200276801803E-3</c:v>
                </c:pt>
                <c:pt idx="6">
                  <c:v>2.0531881397242643E-2</c:v>
                </c:pt>
                <c:pt idx="7">
                  <c:v>5.2946351909761071E-3</c:v>
                </c:pt>
                <c:pt idx="8">
                  <c:v>5.191896702863761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5306101160477325E-2</c:v>
                </c:pt>
                <c:pt idx="1">
                  <c:v>2.2288960827466803E-2</c:v>
                </c:pt>
                <c:pt idx="2">
                  <c:v>2.3475787943950353E-2</c:v>
                </c:pt>
                <c:pt idx="3">
                  <c:v>1.8005596621900367E-2</c:v>
                </c:pt>
                <c:pt idx="4">
                  <c:v>1.372141382249379E-2</c:v>
                </c:pt>
                <c:pt idx="5">
                  <c:v>2.7710537597762059E-2</c:v>
                </c:pt>
                <c:pt idx="6">
                  <c:v>2.6540642970832432E-2</c:v>
                </c:pt>
                <c:pt idx="7">
                  <c:v>4.9454632442882174E-2</c:v>
                </c:pt>
                <c:pt idx="8">
                  <c:v>2.533152529602313E-2</c:v>
                </c:pt>
                <c:pt idx="9">
                  <c:v>2.1249852690317585E-3</c:v>
                </c:pt>
                <c:pt idx="10">
                  <c:v>3.9624903037559635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7058601382366944E-2</c:v>
                </c:pt>
                <c:pt idx="1">
                  <c:v>4.4075340366481537E-2</c:v>
                </c:pt>
                <c:pt idx="2">
                  <c:v>3.9148147102293938E-2</c:v>
                </c:pt>
                <c:pt idx="3">
                  <c:v>2.4302963422487257E-2</c:v>
                </c:pt>
                <c:pt idx="4">
                  <c:v>6.8264835910008606E-2</c:v>
                </c:pt>
                <c:pt idx="5">
                  <c:v>8.1085129025960004E-2</c:v>
                </c:pt>
                <c:pt idx="6">
                  <c:v>0.17391019501158081</c:v>
                </c:pt>
                <c:pt idx="7">
                  <c:v>0.21549263910120092</c:v>
                </c:pt>
                <c:pt idx="8">
                  <c:v>0.18617788954780065</c:v>
                </c:pt>
                <c:pt idx="9">
                  <c:v>9.8373163005540581E-2</c:v>
                </c:pt>
                <c:pt idx="10">
                  <c:v>1.211109612427878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1181560058492834E-7</c:v>
                </c:pt>
                <c:pt idx="1">
                  <c:v>2.4336260492736444E-7</c:v>
                </c:pt>
                <c:pt idx="2">
                  <c:v>3.0265745294642621E-3</c:v>
                </c:pt>
                <c:pt idx="3">
                  <c:v>3.4725365029936576E-3</c:v>
                </c:pt>
                <c:pt idx="4">
                  <c:v>1.8439494441048283E-3</c:v>
                </c:pt>
                <c:pt idx="5">
                  <c:v>2.2671840543629514E-3</c:v>
                </c:pt>
                <c:pt idx="6">
                  <c:v>2.5051656416924775E-3</c:v>
                </c:pt>
                <c:pt idx="7">
                  <c:v>6.0241573619378257E-3</c:v>
                </c:pt>
                <c:pt idx="8">
                  <c:v>7.141709990768625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5104435276264057E-3</c:v>
                </c:pt>
                <c:pt idx="1">
                  <c:v>1.6243417334473184E-3</c:v>
                </c:pt>
                <c:pt idx="2">
                  <c:v>9.4760486039468118E-3</c:v>
                </c:pt>
                <c:pt idx="3">
                  <c:v>2.9647063472338386E-3</c:v>
                </c:pt>
                <c:pt idx="4">
                  <c:v>1.0659466871129713E-2</c:v>
                </c:pt>
                <c:pt idx="5">
                  <c:v>3.3624212336648938E-2</c:v>
                </c:pt>
                <c:pt idx="6">
                  <c:v>3.4873370054166568E-2</c:v>
                </c:pt>
                <c:pt idx="7">
                  <c:v>5.2565894526394645E-2</c:v>
                </c:pt>
                <c:pt idx="8">
                  <c:v>7.8964049196093095E-2</c:v>
                </c:pt>
                <c:pt idx="9">
                  <c:v>0.10858238236090534</c:v>
                </c:pt>
                <c:pt idx="10">
                  <c:v>1.621735500217142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4872159190005607E-7</c:v>
                </c:pt>
                <c:pt idx="2">
                  <c:v>2.2135271066913739E-3</c:v>
                </c:pt>
                <c:pt idx="3">
                  <c:v>6.6172094965712827E-5</c:v>
                </c:pt>
                <c:pt idx="4">
                  <c:v>4.7248894813796873E-3</c:v>
                </c:pt>
                <c:pt idx="5">
                  <c:v>1.8605413657029873E-2</c:v>
                </c:pt>
                <c:pt idx="6">
                  <c:v>6.4526693353509478E-3</c:v>
                </c:pt>
                <c:pt idx="7">
                  <c:v>4.309825545246255E-3</c:v>
                </c:pt>
                <c:pt idx="8">
                  <c:v>1.1538587241140381E-3</c:v>
                </c:pt>
                <c:pt idx="10">
                  <c:v>6.9178073808056378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8.7565470624790579E-6</c:v>
                </c:pt>
                <c:pt idx="2">
                  <c:v>4.2633523011349402E-6</c:v>
                </c:pt>
                <c:pt idx="4">
                  <c:v>5.5903860522293286E-3</c:v>
                </c:pt>
                <c:pt idx="5">
                  <c:v>2.0296215915196892E-3</c:v>
                </c:pt>
                <c:pt idx="6">
                  <c:v>1.1919503798430578E-2</c:v>
                </c:pt>
                <c:pt idx="7">
                  <c:v>7.4942702978698797E-3</c:v>
                </c:pt>
                <c:pt idx="8">
                  <c:v>1.168632186247600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557140142555325E-2</c:v>
                </c:pt>
                <c:pt idx="1">
                  <c:v>2.5184185382167351E-2</c:v>
                </c:pt>
                <c:pt idx="2">
                  <c:v>1.8898507860945636E-2</c:v>
                </c:pt>
                <c:pt idx="3">
                  <c:v>3.6690283715549929E-2</c:v>
                </c:pt>
                <c:pt idx="4">
                  <c:v>3.8047778352694392E-2</c:v>
                </c:pt>
                <c:pt idx="5">
                  <c:v>5.976632250567436E-2</c:v>
                </c:pt>
                <c:pt idx="6">
                  <c:v>8.5399286558187404E-2</c:v>
                </c:pt>
                <c:pt idx="7">
                  <c:v>0.11668792544177388</c:v>
                </c:pt>
                <c:pt idx="8">
                  <c:v>9.7776789765661454E-2</c:v>
                </c:pt>
                <c:pt idx="9">
                  <c:v>3.4950998218423492E-2</c:v>
                </c:pt>
                <c:pt idx="10">
                  <c:v>1.043023281743285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5.8471293157413735E-3</c:v>
                </c:pt>
                <c:pt idx="1">
                  <c:v>1.092006253138679E-2</c:v>
                </c:pt>
                <c:pt idx="2">
                  <c:v>9.7703092868681816E-3</c:v>
                </c:pt>
                <c:pt idx="3">
                  <c:v>5.6818865986670236E-4</c:v>
                </c:pt>
                <c:pt idx="4">
                  <c:v>1.2979075352347186E-2</c:v>
                </c:pt>
                <c:pt idx="5">
                  <c:v>5.1461671621167847E-2</c:v>
                </c:pt>
                <c:pt idx="6">
                  <c:v>2.6026577204275821E-2</c:v>
                </c:pt>
                <c:pt idx="7">
                  <c:v>0.11304358006717868</c:v>
                </c:pt>
                <c:pt idx="8">
                  <c:v>6.842125233657842E-2</c:v>
                </c:pt>
                <c:pt idx="9">
                  <c:v>9.1647256663037982E-2</c:v>
                </c:pt>
                <c:pt idx="10">
                  <c:v>1.081169024282095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5.8932929382426877E-5</c:v>
                </c:pt>
                <c:pt idx="2">
                  <c:v>2.8693026863497596E-5</c:v>
                </c:pt>
                <c:pt idx="4">
                  <c:v>3.7624171272741688E-2</c:v>
                </c:pt>
                <c:pt idx="5">
                  <c:v>1.3659670309841923E-2</c:v>
                </c:pt>
                <c:pt idx="6">
                  <c:v>8.0220122225621637E-2</c:v>
                </c:pt>
                <c:pt idx="7">
                  <c:v>5.0437609606376867E-2</c:v>
                </c:pt>
                <c:pt idx="8">
                  <c:v>7.865077137684338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6.761514813472729E-3</c:v>
                </c:pt>
                <c:pt idx="4">
                  <c:v>7.3097457442948424E-6</c:v>
                </c:pt>
                <c:pt idx="5">
                  <c:v>1.7895228170680318E-5</c:v>
                </c:pt>
                <c:pt idx="6">
                  <c:v>2.2748960006682504E-2</c:v>
                </c:pt>
                <c:pt idx="7">
                  <c:v>3.1314526136026239E-3</c:v>
                </c:pt>
                <c:pt idx="8">
                  <c:v>2.661020428980163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5.1152539137243144E-2</c:v>
                </c:pt>
                <c:pt idx="1">
                  <c:v>3.3155277835094747E-2</c:v>
                </c:pt>
                <c:pt idx="2">
                  <c:v>2.9349144788562265E-2</c:v>
                </c:pt>
                <c:pt idx="3">
                  <c:v>1.6973259949147827E-2</c:v>
                </c:pt>
                <c:pt idx="4">
                  <c:v>1.7654279539175428E-2</c:v>
                </c:pt>
                <c:pt idx="5">
                  <c:v>1.5945891866779548E-2</c:v>
                </c:pt>
                <c:pt idx="6">
                  <c:v>4.491453557500083E-2</c:v>
                </c:pt>
                <c:pt idx="7">
                  <c:v>4.8879996814042766E-2</c:v>
                </c:pt>
                <c:pt idx="8">
                  <c:v>1.249566154457718E-2</c:v>
                </c:pt>
                <c:pt idx="9">
                  <c:v>6.72590634250259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4165525822856861E-2</c:v>
                </c:pt>
                <c:pt idx="1">
                  <c:v>9.4537188852260035E-3</c:v>
                </c:pt>
                <c:pt idx="2">
                  <c:v>2.0219498100420973E-2</c:v>
                </c:pt>
                <c:pt idx="3">
                  <c:v>8.240412408021246E-3</c:v>
                </c:pt>
                <c:pt idx="4">
                  <c:v>5.5533695297342311E-2</c:v>
                </c:pt>
                <c:pt idx="5">
                  <c:v>9.3213785174338426E-2</c:v>
                </c:pt>
                <c:pt idx="6">
                  <c:v>0.21615012501036701</c:v>
                </c:pt>
                <c:pt idx="7">
                  <c:v>0.151632184131818</c:v>
                </c:pt>
                <c:pt idx="8">
                  <c:v>0.34844429515359976</c:v>
                </c:pt>
                <c:pt idx="9">
                  <c:v>8.294676001600942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3">
                  <c:v>3.1517237159222177E-3</c:v>
                </c:pt>
                <c:pt idx="4">
                  <c:v>4.2664254916507265E-2</c:v>
                </c:pt>
                <c:pt idx="5">
                  <c:v>2.363851662450068E-3</c:v>
                </c:pt>
                <c:pt idx="6">
                  <c:v>0.13061912267877912</c:v>
                </c:pt>
                <c:pt idx="7">
                  <c:v>1.8629309868748042E-2</c:v>
                </c:pt>
                <c:pt idx="8">
                  <c:v>0.1268464193505426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1">
                  <c:v>2.5154757217617264E-3</c:v>
                </c:pt>
                <c:pt idx="2">
                  <c:v>1.7887792465559889E-2</c:v>
                </c:pt>
                <c:pt idx="4">
                  <c:v>8.1499796271115744E-3</c:v>
                </c:pt>
                <c:pt idx="5">
                  <c:v>8.1816742758027902E-2</c:v>
                </c:pt>
                <c:pt idx="6">
                  <c:v>2.9206648206708926E-2</c:v>
                </c:pt>
                <c:pt idx="7">
                  <c:v>7.7167343859306056E-2</c:v>
                </c:pt>
                <c:pt idx="8">
                  <c:v>0.1235200316263531</c:v>
                </c:pt>
                <c:pt idx="9">
                  <c:v>8.294676001600942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6">
                  <c:v>2.2506262097199775E-2</c:v>
                </c:pt>
                <c:pt idx="7">
                  <c:v>4.2216487049919794E-3</c:v>
                </c:pt>
                <c:pt idx="8">
                  <c:v>6.9450609473375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4165525822856861E-2</c:v>
                </c:pt>
                <c:pt idx="1">
                  <c:v>6.938243163464277E-3</c:v>
                </c:pt>
                <c:pt idx="2">
                  <c:v>2.3317056348610837E-3</c:v>
                </c:pt>
                <c:pt idx="3">
                  <c:v>5.0886886920990283E-3</c:v>
                </c:pt>
                <c:pt idx="4">
                  <c:v>4.7194607537234734E-3</c:v>
                </c:pt>
                <c:pt idx="5">
                  <c:v>9.0331907538604584E-3</c:v>
                </c:pt>
                <c:pt idx="6">
                  <c:v>3.3818092027679179E-2</c:v>
                </c:pt>
                <c:pt idx="7">
                  <c:v>5.1613881698771936E-2</c:v>
                </c:pt>
                <c:pt idx="8">
                  <c:v>2.862723470332847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2137763780528942E-2</c:v>
                </c:pt>
                <c:pt idx="1">
                  <c:v>7.6010757588336045E-2</c:v>
                </c:pt>
                <c:pt idx="2">
                  <c:v>1.9801583306298543E-2</c:v>
                </c:pt>
                <c:pt idx="3">
                  <c:v>3.8623977412852312E-2</c:v>
                </c:pt>
                <c:pt idx="4">
                  <c:v>7.0418162902305612E-2</c:v>
                </c:pt>
                <c:pt idx="5">
                  <c:v>0.21572543411195483</c:v>
                </c:pt>
                <c:pt idx="6">
                  <c:v>0.35475670948466687</c:v>
                </c:pt>
                <c:pt idx="7">
                  <c:v>0.11896334298735282</c:v>
                </c:pt>
                <c:pt idx="8">
                  <c:v>3.931459111135447E-2</c:v>
                </c:pt>
                <c:pt idx="9">
                  <c:v>2.424767731434951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7.5069372932280362E-5</c:v>
                </c:pt>
                <c:pt idx="1">
                  <c:v>2.3305851073747173E-6</c:v>
                </c:pt>
                <c:pt idx="2">
                  <c:v>1.2417848101588783E-3</c:v>
                </c:pt>
                <c:pt idx="3">
                  <c:v>2.0887685031284794E-3</c:v>
                </c:pt>
                <c:pt idx="4">
                  <c:v>3.1903502197226574E-3</c:v>
                </c:pt>
                <c:pt idx="5">
                  <c:v>7.476247167235133E-3</c:v>
                </c:pt>
                <c:pt idx="6">
                  <c:v>0.20295954379017314</c:v>
                </c:pt>
                <c:pt idx="7">
                  <c:v>0.10730673757925707</c:v>
                </c:pt>
                <c:pt idx="9">
                  <c:v>1.206624867254778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1">
                  <c:v>5.7857511264821783E-2</c:v>
                </c:pt>
                <c:pt idx="4">
                  <c:v>2.3203550653770827E-3</c:v>
                </c:pt>
                <c:pt idx="5">
                  <c:v>0.1228202650802594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9.3137540633138035E-4</c:v>
                </c:pt>
                <c:pt idx="2">
                  <c:v>5.9809682948183292E-3</c:v>
                </c:pt>
                <c:pt idx="3">
                  <c:v>2.2406981196544965E-3</c:v>
                </c:pt>
                <c:pt idx="4">
                  <c:v>5.6405139690855491E-2</c:v>
                </c:pt>
                <c:pt idx="5">
                  <c:v>1.3637038502443532E-2</c:v>
                </c:pt>
                <c:pt idx="6">
                  <c:v>8.6067281391607575E-2</c:v>
                </c:pt>
                <c:pt idx="8">
                  <c:v>1.706331753245695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1131319001265286E-2</c:v>
                </c:pt>
                <c:pt idx="1">
                  <c:v>1.8150915738406884E-2</c:v>
                </c:pt>
                <c:pt idx="2">
                  <c:v>1.2578830201321339E-2</c:v>
                </c:pt>
                <c:pt idx="3">
                  <c:v>3.4294510790069337E-2</c:v>
                </c:pt>
                <c:pt idx="4">
                  <c:v>8.5023179263503702E-3</c:v>
                </c:pt>
                <c:pt idx="5">
                  <c:v>7.1791883362016695E-2</c:v>
                </c:pt>
                <c:pt idx="6">
                  <c:v>6.5729884302886177E-2</c:v>
                </c:pt>
                <c:pt idx="7">
                  <c:v>1.1656605408095756E-2</c:v>
                </c:pt>
                <c:pt idx="8">
                  <c:v>2.2251273578897519E-2</c:v>
                </c:pt>
                <c:pt idx="9">
                  <c:v>1.218142864180172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4077995271416671E-2</c:v>
                </c:pt>
                <c:pt idx="1">
                  <c:v>2.062966834660215E-2</c:v>
                </c:pt>
                <c:pt idx="2">
                  <c:v>8.0083321202325142E-2</c:v>
                </c:pt>
                <c:pt idx="3">
                  <c:v>2.8380127651671069E-2</c:v>
                </c:pt>
                <c:pt idx="4">
                  <c:v>0.14083598542271128</c:v>
                </c:pt>
                <c:pt idx="5">
                  <c:v>0.28115211531318079</c:v>
                </c:pt>
                <c:pt idx="6">
                  <c:v>0.22040258842250043</c:v>
                </c:pt>
                <c:pt idx="7">
                  <c:v>7.644417561014788E-2</c:v>
                </c:pt>
                <c:pt idx="8">
                  <c:v>8.2955703414418672E-2</c:v>
                </c:pt>
                <c:pt idx="9">
                  <c:v>1.503831934502595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5703903842099452E-3</c:v>
                </c:pt>
                <c:pt idx="1">
                  <c:v>1.3804250705271718E-5</c:v>
                </c:pt>
                <c:pt idx="2">
                  <c:v>7.2152308572690678E-3</c:v>
                </c:pt>
                <c:pt idx="4">
                  <c:v>4.8225463571837318E-3</c:v>
                </c:pt>
                <c:pt idx="5">
                  <c:v>2.9913968144809101E-2</c:v>
                </c:pt>
                <c:pt idx="6">
                  <c:v>0.12019831688535947</c:v>
                </c:pt>
                <c:pt idx="7">
                  <c:v>4.8305779212304355E-2</c:v>
                </c:pt>
                <c:pt idx="8">
                  <c:v>1.4731331633318944E-3</c:v>
                </c:pt>
                <c:pt idx="9">
                  <c:v>6.298973716706656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0092651620870016E-3</c:v>
                </c:pt>
                <c:pt idx="2">
                  <c:v>4.5795287981768351E-2</c:v>
                </c:pt>
                <c:pt idx="3">
                  <c:v>1.8224748260664411E-3</c:v>
                </c:pt>
                <c:pt idx="4">
                  <c:v>2.6213174023913981E-2</c:v>
                </c:pt>
                <c:pt idx="5">
                  <c:v>8.544140974027929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1">
                  <c:v>8.6260880259419516E-4</c:v>
                </c:pt>
                <c:pt idx="2">
                  <c:v>1.0020160480689108E-2</c:v>
                </c:pt>
                <c:pt idx="3">
                  <c:v>1.4463089943477869E-4</c:v>
                </c:pt>
                <c:pt idx="4">
                  <c:v>7.3316728492977407E-2</c:v>
                </c:pt>
                <c:pt idx="5">
                  <c:v>2.2879918078046724E-2</c:v>
                </c:pt>
                <c:pt idx="6">
                  <c:v>6.901042973887378E-2</c:v>
                </c:pt>
                <c:pt idx="8">
                  <c:v>2.063280567630788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549833972511972E-2</c:v>
                </c:pt>
                <c:pt idx="1">
                  <c:v>1.9753255293302682E-2</c:v>
                </c:pt>
                <c:pt idx="2">
                  <c:v>1.7052641882598613E-2</c:v>
                </c:pt>
                <c:pt idx="3">
                  <c:v>2.6413021926169847E-2</c:v>
                </c:pt>
                <c:pt idx="4">
                  <c:v>3.648353654863614E-2</c:v>
                </c:pt>
                <c:pt idx="5">
                  <c:v>0.14291681935004569</c:v>
                </c:pt>
                <c:pt idx="6">
                  <c:v>3.1193841798267188E-2</c:v>
                </c:pt>
                <c:pt idx="7">
                  <c:v>2.8138396397843525E-2</c:v>
                </c:pt>
                <c:pt idx="8">
                  <c:v>6.0849764574778878E-2</c:v>
                </c:pt>
                <c:pt idx="9">
                  <c:v>8.73934562831929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0.16</c:v>
                </c:pt>
                <c:pt idx="2">
                  <c:v>3.2899999999999999E-2</c:v>
                </c:pt>
                <c:pt idx="4">
                  <c:v>3.0999999999999999E-3</c:v>
                </c:pt>
                <c:pt idx="5">
                  <c:v>0.21490000000000001</c:v>
                </c:pt>
                <c:pt idx="6">
                  <c:v>3.1600000000000003E-2</c:v>
                </c:pt>
                <c:pt idx="7">
                  <c:v>0.27050000000000002</c:v>
                </c:pt>
                <c:pt idx="8">
                  <c:v>0.2868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0379942463993448E-2</c:v>
                </c:pt>
                <c:pt idx="1">
                  <c:v>9.152991779240488E-2</c:v>
                </c:pt>
                <c:pt idx="2">
                  <c:v>4.8661682695440873E-3</c:v>
                </c:pt>
                <c:pt idx="3">
                  <c:v>4.1438958765861969E-2</c:v>
                </c:pt>
                <c:pt idx="4">
                  <c:v>0.12055059537663741</c:v>
                </c:pt>
                <c:pt idx="5">
                  <c:v>0.23404232341194106</c:v>
                </c:pt>
                <c:pt idx="6">
                  <c:v>0.1719810820120844</c:v>
                </c:pt>
                <c:pt idx="7">
                  <c:v>0.22892217743061699</c:v>
                </c:pt>
                <c:pt idx="8">
                  <c:v>4.438874975561162E-2</c:v>
                </c:pt>
                <c:pt idx="9">
                  <c:v>3.190008472130415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3">
                  <c:v>3.7381646200109857E-3</c:v>
                </c:pt>
                <c:pt idx="4">
                  <c:v>2.0456936440401821E-2</c:v>
                </c:pt>
                <c:pt idx="6">
                  <c:v>2.1934438744635094E-2</c:v>
                </c:pt>
                <c:pt idx="7">
                  <c:v>0.21666793903790116</c:v>
                </c:pt>
                <c:pt idx="8">
                  <c:v>4.7464412397240502E-3</c:v>
                </c:pt>
                <c:pt idx="9">
                  <c:v>1.844894843172487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2037314613959463E-3</c:v>
                </c:pt>
                <c:pt idx="1">
                  <c:v>7.9541946355587423E-2</c:v>
                </c:pt>
                <c:pt idx="4">
                  <c:v>2.6674549161631492E-2</c:v>
                </c:pt>
                <c:pt idx="5">
                  <c:v>0.1542851290836134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6.4451499380882779E-3</c:v>
                </c:pt>
                <c:pt idx="4">
                  <c:v>3.3661356844271073E-2</c:v>
                </c:pt>
                <c:pt idx="6">
                  <c:v>0.11889825064471982</c:v>
                </c:pt>
                <c:pt idx="8">
                  <c:v>2.37284821852510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3176211002597501E-2</c:v>
                </c:pt>
                <c:pt idx="1">
                  <c:v>1.1987971436817459E-2</c:v>
                </c:pt>
                <c:pt idx="2">
                  <c:v>4.8661682695440873E-3</c:v>
                </c:pt>
                <c:pt idx="3">
                  <c:v>3.1255644207762709E-2</c:v>
                </c:pt>
                <c:pt idx="4">
                  <c:v>3.9757752930333019E-2</c:v>
                </c:pt>
                <c:pt idx="5">
                  <c:v>7.9757194328327646E-2</c:v>
                </c:pt>
                <c:pt idx="6">
                  <c:v>3.1148392622729518E-2</c:v>
                </c:pt>
                <c:pt idx="7">
                  <c:v>1.2254238392715829E-2</c:v>
                </c:pt>
                <c:pt idx="8">
                  <c:v>1.5913826330636528E-2</c:v>
                </c:pt>
                <c:pt idx="9">
                  <c:v>1.34511362895792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3.5000000000000001E-3</c:v>
                </c:pt>
                <c:pt idx="5">
                  <c:v>0.30940000000000001</c:v>
                </c:pt>
                <c:pt idx="7">
                  <c:v>0.22459999999999999</c:v>
                </c:pt>
                <c:pt idx="8">
                  <c:v>0.41860000000000003</c:v>
                </c:pt>
                <c:pt idx="9">
                  <c:v>4.1099999999999998E-2</c:v>
                </c:pt>
                <c:pt idx="10">
                  <c:v>2.5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6704377507072776E-2</c:v>
                </c:pt>
                <c:pt idx="1">
                  <c:v>1.9033626479877733E-2</c:v>
                </c:pt>
                <c:pt idx="2">
                  <c:v>1.9827508280769839E-2</c:v>
                </c:pt>
                <c:pt idx="3">
                  <c:v>4.6176309521501771E-2</c:v>
                </c:pt>
                <c:pt idx="4">
                  <c:v>6.9141447185096516E-2</c:v>
                </c:pt>
                <c:pt idx="5">
                  <c:v>9.9088582204497205E-2</c:v>
                </c:pt>
                <c:pt idx="6">
                  <c:v>0.12890045057876501</c:v>
                </c:pt>
                <c:pt idx="7">
                  <c:v>0.17819960100478047</c:v>
                </c:pt>
                <c:pt idx="8">
                  <c:v>0.24263268612335279</c:v>
                </c:pt>
                <c:pt idx="9">
                  <c:v>9.1669505526999359E-2</c:v>
                </c:pt>
                <c:pt idx="10">
                  <c:v>8.862590558728655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6.7078230437420932E-5</c:v>
                </c:pt>
                <c:pt idx="5">
                  <c:v>5.8931155398722788E-3</c:v>
                </c:pt>
                <c:pt idx="6">
                  <c:v>5.5899138455006776E-6</c:v>
                </c:pt>
                <c:pt idx="7">
                  <c:v>4.2781196847330675E-3</c:v>
                </c:pt>
                <c:pt idx="8">
                  <c:v>7.9741540923640442E-3</c:v>
                </c:pt>
                <c:pt idx="9">
                  <c:v>7.8305511332296305E-4</c:v>
                </c:pt>
                <c:pt idx="10">
                  <c:v>4.8384610945406363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3.3056637527228581E-4</c:v>
                </c:pt>
                <c:pt idx="1">
                  <c:v>2.422229295471721E-3</c:v>
                </c:pt>
                <c:pt idx="2">
                  <c:v>2.893465359741278E-3</c:v>
                </c:pt>
                <c:pt idx="3">
                  <c:v>4.5063372241892609E-3</c:v>
                </c:pt>
                <c:pt idx="4">
                  <c:v>1.895208569003325E-2</c:v>
                </c:pt>
                <c:pt idx="5">
                  <c:v>1.3879238139532797E-2</c:v>
                </c:pt>
                <c:pt idx="6">
                  <c:v>3.2546092553145244E-2</c:v>
                </c:pt>
                <c:pt idx="7">
                  <c:v>5.4797824635366692E-2</c:v>
                </c:pt>
                <c:pt idx="8">
                  <c:v>0.11617114114660547</c:v>
                </c:pt>
                <c:pt idx="9">
                  <c:v>6.3797939802453227E-2</c:v>
                </c:pt>
                <c:pt idx="10">
                  <c:v>7.450298016383463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6.9101281910487233E-4</c:v>
                </c:pt>
                <c:pt idx="3">
                  <c:v>2.9140755001029332E-4</c:v>
                </c:pt>
                <c:pt idx="4">
                  <c:v>8.6853856548621848E-4</c:v>
                </c:pt>
                <c:pt idx="5">
                  <c:v>2.0029439688114176E-2</c:v>
                </c:pt>
                <c:pt idx="6">
                  <c:v>9.3104900201832746E-3</c:v>
                </c:pt>
                <c:pt idx="7">
                  <c:v>2.3458414085719462E-3</c:v>
                </c:pt>
                <c:pt idx="8">
                  <c:v>1.0868233033067042E-3</c:v>
                </c:pt>
                <c:pt idx="10">
                  <c:v>7.1525588847009192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5.4165809023577501E-5</c:v>
                </c:pt>
                <c:pt idx="4">
                  <c:v>5.2711313146694789E-3</c:v>
                </c:pt>
                <c:pt idx="5">
                  <c:v>3.1237450903673766E-5</c:v>
                </c:pt>
                <c:pt idx="6">
                  <c:v>1.2010734762252595E-2</c:v>
                </c:pt>
                <c:pt idx="7">
                  <c:v>2.733592205201067E-3</c:v>
                </c:pt>
                <c:pt idx="8">
                  <c:v>1.574060146497428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631964532277691E-2</c:v>
                </c:pt>
                <c:pt idx="1">
                  <c:v>1.6611397184406011E-2</c:v>
                </c:pt>
                <c:pt idx="2">
                  <c:v>1.624303010192369E-2</c:v>
                </c:pt>
                <c:pt idx="3">
                  <c:v>4.1378564747302213E-2</c:v>
                </c:pt>
                <c:pt idx="4">
                  <c:v>4.398261338447014E-2</c:v>
                </c:pt>
                <c:pt idx="5">
                  <c:v>5.925555138607428E-2</c:v>
                </c:pt>
                <c:pt idx="6">
                  <c:v>7.5027543329338364E-2</c:v>
                </c:pt>
                <c:pt idx="7">
                  <c:v>0.1140442230709077</c:v>
                </c:pt>
                <c:pt idx="8">
                  <c:v>0.10165996611610231</c:v>
                </c:pt>
                <c:pt idx="9">
                  <c:v>2.7088510611223169E-2</c:v>
                </c:pt>
                <c:pt idx="10">
                  <c:v>1.406738825362181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3.7000000000000002E-3</c:v>
                </c:pt>
                <c:pt idx="5">
                  <c:v>0.1583</c:v>
                </c:pt>
                <c:pt idx="6">
                  <c:v>0.13350000000000001</c:v>
                </c:pt>
                <c:pt idx="7">
                  <c:v>0.27910000000000001</c:v>
                </c:pt>
                <c:pt idx="8">
                  <c:v>0.37440000000000001</c:v>
                </c:pt>
                <c:pt idx="9">
                  <c:v>4.7E-2</c:v>
                </c:pt>
                <c:pt idx="10">
                  <c:v>4.0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947267185702188E-2</c:v>
                </c:pt>
                <c:pt idx="1">
                  <c:v>2.5712148835382798E-2</c:v>
                </c:pt>
                <c:pt idx="2">
                  <c:v>3.3589224880169175E-2</c:v>
                </c:pt>
                <c:pt idx="3">
                  <c:v>4.7555465818613675E-2</c:v>
                </c:pt>
                <c:pt idx="4">
                  <c:v>7.2169314610381535E-2</c:v>
                </c:pt>
                <c:pt idx="5">
                  <c:v>0.11538975237199359</c:v>
                </c:pt>
                <c:pt idx="6">
                  <c:v>0.13910064653920554</c:v>
                </c:pt>
                <c:pt idx="7">
                  <c:v>0.18415888055193388</c:v>
                </c:pt>
                <c:pt idx="8">
                  <c:v>0.19567579739573698</c:v>
                </c:pt>
                <c:pt idx="9">
                  <c:v>0.1373325993517957</c:v>
                </c:pt>
                <c:pt idx="10">
                  <c:v>2.536890245908493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8.6233022369722745E-5</c:v>
                </c:pt>
                <c:pt idx="5">
                  <c:v>3.6642986528543759E-3</c:v>
                </c:pt>
                <c:pt idx="6">
                  <c:v>3.0894232753136022E-3</c:v>
                </c:pt>
                <c:pt idx="7">
                  <c:v>6.4601847886509864E-3</c:v>
                </c:pt>
                <c:pt idx="8">
                  <c:v>8.665698137942348E-3</c:v>
                </c:pt>
                <c:pt idx="9">
                  <c:v>1.0880785308658759E-3</c:v>
                </c:pt>
                <c:pt idx="10">
                  <c:v>9.2765697114504262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4375916424244955E-3</c:v>
                </c:pt>
                <c:pt idx="1">
                  <c:v>1.5459962969385226E-3</c:v>
                </c:pt>
                <c:pt idx="2">
                  <c:v>9.0189987424751251E-3</c:v>
                </c:pt>
                <c:pt idx="3">
                  <c:v>2.8217122911730575E-3</c:v>
                </c:pt>
                <c:pt idx="4">
                  <c:v>1.0145338244269071E-2</c:v>
                </c:pt>
                <c:pt idx="5">
                  <c:v>3.2002445476550817E-2</c:v>
                </c:pt>
                <c:pt idx="6">
                  <c:v>3.5358824811018041E-2</c:v>
                </c:pt>
                <c:pt idx="7">
                  <c:v>5.0030530281701201E-2</c:v>
                </c:pt>
                <c:pt idx="8">
                  <c:v>7.5155446132228909E-2</c:v>
                </c:pt>
                <c:pt idx="9">
                  <c:v>0.10334522445991616</c:v>
                </c:pt>
                <c:pt idx="10">
                  <c:v>1.54351576784797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41548435047794E-7</c:v>
                </c:pt>
                <c:pt idx="2">
                  <c:v>2.1067640137861997E-3</c:v>
                </c:pt>
                <c:pt idx="3">
                  <c:v>6.2980474903235128E-5</c:v>
                </c:pt>
                <c:pt idx="4">
                  <c:v>4.4969980708149324E-3</c:v>
                </c:pt>
                <c:pt idx="5">
                  <c:v>1.7708035214814292E-2</c:v>
                </c:pt>
                <c:pt idx="6">
                  <c:v>6.141443449002454E-3</c:v>
                </c:pt>
                <c:pt idx="7">
                  <c:v>4.1019535459826057E-3</c:v>
                </c:pt>
                <c:pt idx="8">
                  <c:v>1.0982056779915682E-3</c:v>
                </c:pt>
                <c:pt idx="10">
                  <c:v>6.5841469029807213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Apericub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1446732582999091E-7</c:v>
                </c:pt>
                <c:pt idx="1">
                  <c:v>1.8337814227767542E-4</c:v>
                </c:pt>
                <c:pt idx="2">
                  <c:v>1.5481924423550219E-3</c:v>
                </c:pt>
                <c:pt idx="3">
                  <c:v>6.3462039836653791E-3</c:v>
                </c:pt>
                <c:pt idx="4">
                  <c:v>1.3772328161122062E-2</c:v>
                </c:pt>
                <c:pt idx="5">
                  <c:v>5.3123556608088748E-5</c:v>
                </c:pt>
                <c:pt idx="6">
                  <c:v>1.296883919293955E-4</c:v>
                </c:pt>
                <c:pt idx="7">
                  <c:v>1.5682408479736093E-3</c:v>
                </c:pt>
                <c:pt idx="8">
                  <c:v>2.426097283254023E-3</c:v>
                </c:pt>
                <c:pt idx="9">
                  <c:v>1.9402858967839276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509319527516815E-2</c:v>
                </c:pt>
                <c:pt idx="1">
                  <c:v>2.3982774396166601E-2</c:v>
                </c:pt>
                <c:pt idx="2">
                  <c:v>2.0915269681552825E-2</c:v>
                </c:pt>
                <c:pt idx="3">
                  <c:v>3.8324569068872008E-2</c:v>
                </c:pt>
                <c:pt idx="4">
                  <c:v>4.366841711180576E-2</c:v>
                </c:pt>
                <c:pt idx="5">
                  <c:v>6.1961849471166043E-2</c:v>
                </c:pt>
                <c:pt idx="6">
                  <c:v>9.438126661194203E-2</c:v>
                </c:pt>
                <c:pt idx="7">
                  <c:v>0.1219979710876255</c:v>
                </c:pt>
                <c:pt idx="8">
                  <c:v>0.10833035016432013</c:v>
                </c:pt>
                <c:pt idx="9">
                  <c:v>3.2705267771335249E-2</c:v>
                </c:pt>
                <c:pt idx="10">
                  <c:v>9.834394936587716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1.8E-3</c:v>
                </c:pt>
                <c:pt idx="5">
                  <c:v>0.34849999999999998</c:v>
                </c:pt>
                <c:pt idx="6">
                  <c:v>3.27E-2</c:v>
                </c:pt>
                <c:pt idx="7">
                  <c:v>0.1207</c:v>
                </c:pt>
                <c:pt idx="8">
                  <c:v>0.45140000000000002</c:v>
                </c:pt>
                <c:pt idx="9">
                  <c:v>4.48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442252761138651E-2</c:v>
                </c:pt>
                <c:pt idx="1">
                  <c:v>1.2001151939103054E-2</c:v>
                </c:pt>
                <c:pt idx="2">
                  <c:v>1.4271461085164992E-2</c:v>
                </c:pt>
                <c:pt idx="3">
                  <c:v>7.3545625941690701E-2</c:v>
                </c:pt>
                <c:pt idx="4">
                  <c:v>5.4250404213041364E-2</c:v>
                </c:pt>
                <c:pt idx="5">
                  <c:v>0.12550902281882184</c:v>
                </c:pt>
                <c:pt idx="6">
                  <c:v>0.1211517910584342</c:v>
                </c:pt>
                <c:pt idx="7">
                  <c:v>0.187042554643229</c:v>
                </c:pt>
                <c:pt idx="8">
                  <c:v>0.21492993040072444</c:v>
                </c:pt>
                <c:pt idx="9">
                  <c:v>0.11520676347948282</c:v>
                </c:pt>
                <c:pt idx="10">
                  <c:v>6.766876680892111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362066226389675E-2</c:v>
                </c:pt>
                <c:pt idx="1">
                  <c:v>1.1322501101184695E-2</c:v>
                </c:pt>
                <c:pt idx="2">
                  <c:v>1.391455219372234E-2</c:v>
                </c:pt>
                <c:pt idx="3">
                  <c:v>9.0043460856499752E-2</c:v>
                </c:pt>
                <c:pt idx="4">
                  <c:v>5.7044640694140274E-2</c:v>
                </c:pt>
                <c:pt idx="5">
                  <c:v>0.12465870549148711</c:v>
                </c:pt>
                <c:pt idx="6">
                  <c:v>0.11514928294657306</c:v>
                </c:pt>
                <c:pt idx="7">
                  <c:v>0.1871274516940177</c:v>
                </c:pt>
                <c:pt idx="8">
                  <c:v>0.21430449882698099</c:v>
                </c:pt>
                <c:pt idx="9">
                  <c:v>0.10899183968071161</c:v>
                </c:pt>
                <c:pt idx="10">
                  <c:v>6.382240425078571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5.3055994905060984E-5</c:v>
                </c:pt>
                <c:pt idx="5">
                  <c:v>1.0253020798688324E-2</c:v>
                </c:pt>
                <c:pt idx="6">
                  <c:v>9.6238026489409297E-4</c:v>
                </c:pt>
                <c:pt idx="7">
                  <c:v>3.551266347196433E-3</c:v>
                </c:pt>
                <c:pt idx="8">
                  <c:v>1.3280811825233933E-2</c:v>
                </c:pt>
                <c:pt idx="9">
                  <c:v>1.3178603167086221E-3</c:v>
                </c:pt>
                <c:pt idx="10">
                  <c:v>5.6459873837371765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3.4792311485475785E-4</c:v>
                </c:pt>
                <c:pt idx="2">
                  <c:v>2.9753484898851269E-3</c:v>
                </c:pt>
                <c:pt idx="3">
                  <c:v>2.5442811533206093E-2</c:v>
                </c:pt>
                <c:pt idx="4">
                  <c:v>8.1907696184380929E-3</c:v>
                </c:pt>
                <c:pt idx="5">
                  <c:v>1.2789985512396374E-2</c:v>
                </c:pt>
                <c:pt idx="6">
                  <c:v>2.5319153551834204E-2</c:v>
                </c:pt>
                <c:pt idx="7">
                  <c:v>5.3866308100141751E-2</c:v>
                </c:pt>
                <c:pt idx="8">
                  <c:v>6.6991165810402015E-2</c:v>
                </c:pt>
                <c:pt idx="9">
                  <c:v>7.8089770938817388E-2</c:v>
                </c:pt>
                <c:pt idx="10">
                  <c:v>5.010371353093883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5905957307128072E-5</c:v>
                </c:pt>
                <c:pt idx="1">
                  <c:v>7.8251213604988139E-4</c:v>
                </c:pt>
                <c:pt idx="2">
                  <c:v>2.1295144337930239E-4</c:v>
                </c:pt>
                <c:pt idx="3">
                  <c:v>1.591077246575296E-3</c:v>
                </c:pt>
                <c:pt idx="4">
                  <c:v>5.17296764649448E-3</c:v>
                </c:pt>
                <c:pt idx="5">
                  <c:v>2.1698088685606319E-2</c:v>
                </c:pt>
                <c:pt idx="6">
                  <c:v>4.6158606990722604E-3</c:v>
                </c:pt>
                <c:pt idx="7">
                  <c:v>1.0028674232695114E-2</c:v>
                </c:pt>
                <c:pt idx="8">
                  <c:v>7.3710916846679566E-3</c:v>
                </c:pt>
                <c:pt idx="9">
                  <c:v>1.6175156682664499E-3</c:v>
                </c:pt>
                <c:pt idx="10">
                  <c:v>9.820440446081645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Apericub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4.5377452063178426E-4</c:v>
                </c:pt>
                <c:pt idx="3">
                  <c:v>2.0667565696057738E-2</c:v>
                </c:pt>
                <c:pt idx="4">
                  <c:v>5.8324352594170507E-3</c:v>
                </c:pt>
                <c:pt idx="7">
                  <c:v>2.0921477692139247E-3</c:v>
                </c:pt>
                <c:pt idx="8">
                  <c:v>2.290007054009776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3544756306589623E-2</c:v>
                </c:pt>
                <c:pt idx="1">
                  <c:v>1.0192065850280055E-2</c:v>
                </c:pt>
                <c:pt idx="2">
                  <c:v>1.0272477739826126E-2</c:v>
                </c:pt>
                <c:pt idx="3">
                  <c:v>4.2342006380660629E-2</c:v>
                </c:pt>
                <c:pt idx="4">
                  <c:v>3.7795412174885586E-2</c:v>
                </c:pt>
                <c:pt idx="5">
                  <c:v>7.9917610494796093E-2</c:v>
                </c:pt>
                <c:pt idx="6">
                  <c:v>8.4251888430772512E-2</c:v>
                </c:pt>
                <c:pt idx="7">
                  <c:v>0.11758905524477049</c:v>
                </c:pt>
                <c:pt idx="8">
                  <c:v>0.1243714224526673</c:v>
                </c:pt>
                <c:pt idx="9">
                  <c:v>2.7966692756919136E-2</c:v>
                </c:pt>
                <c:pt idx="10">
                  <c:v>3.897685675026868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4.3E-3</c:v>
                </c:pt>
                <c:pt idx="5">
                  <c:v>0.15179999999999999</c:v>
                </c:pt>
                <c:pt idx="7">
                  <c:v>0.2767</c:v>
                </c:pt>
                <c:pt idx="8">
                  <c:v>0.51339999999999997</c:v>
                </c:pt>
                <c:pt idx="9">
                  <c:v>5.0599999999999999E-2</c:v>
                </c:pt>
                <c:pt idx="10">
                  <c:v>3.0999999999999999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668986770156853E-2</c:v>
                </c:pt>
                <c:pt idx="1">
                  <c:v>1.9837674558354175E-2</c:v>
                </c:pt>
                <c:pt idx="2">
                  <c:v>2.0649080415175616E-2</c:v>
                </c:pt>
                <c:pt idx="3">
                  <c:v>3.8118183467068141E-2</c:v>
                </c:pt>
                <c:pt idx="4">
                  <c:v>6.1661417397453615E-2</c:v>
                </c:pt>
                <c:pt idx="5">
                  <c:v>9.9246828777930327E-2</c:v>
                </c:pt>
                <c:pt idx="6">
                  <c:v>0.13320160439496909</c:v>
                </c:pt>
                <c:pt idx="7">
                  <c:v>0.17855094253158701</c:v>
                </c:pt>
                <c:pt idx="8">
                  <c:v>0.24422796421949797</c:v>
                </c:pt>
                <c:pt idx="9">
                  <c:v>9.5230577342037964E-2</c:v>
                </c:pt>
                <c:pt idx="10">
                  <c:v>9.258585919435757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7.007539790009915E-5</c:v>
                </c:pt>
                <c:pt idx="5">
                  <c:v>2.4526051089272969E-3</c:v>
                </c:pt>
                <c:pt idx="7">
                  <c:v>4.469273223472992E-3</c:v>
                </c:pt>
                <c:pt idx="8">
                  <c:v>8.2921872706385336E-3</c:v>
                </c:pt>
                <c:pt idx="9">
                  <c:v>8.1804332472673461E-4</c:v>
                </c:pt>
                <c:pt idx="10">
                  <c:v>5.0546516241271404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3.4533663348811457E-4</c:v>
                </c:pt>
                <c:pt idx="1">
                  <c:v>2.5304585493472645E-3</c:v>
                </c:pt>
                <c:pt idx="2">
                  <c:v>3.0227502286779089E-3</c:v>
                </c:pt>
                <c:pt idx="3">
                  <c:v>4.7076879040763219E-3</c:v>
                </c:pt>
                <c:pt idx="4">
                  <c:v>1.9777845117453324E-2</c:v>
                </c:pt>
                <c:pt idx="5">
                  <c:v>1.4499385699885904E-2</c:v>
                </c:pt>
                <c:pt idx="6">
                  <c:v>3.3397169132235692E-2</c:v>
                </c:pt>
                <c:pt idx="7">
                  <c:v>5.5179989937272779E-2</c:v>
                </c:pt>
                <c:pt idx="8">
                  <c:v>0.12121172341308468</c:v>
                </c:pt>
                <c:pt idx="9">
                  <c:v>6.6540370573153429E-2</c:v>
                </c:pt>
                <c:pt idx="10">
                  <c:v>7.783189785536387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7.2188842694677618E-4</c:v>
                </c:pt>
                <c:pt idx="3">
                  <c:v>3.0442812645624536E-4</c:v>
                </c:pt>
                <c:pt idx="4">
                  <c:v>9.0734632042520802E-4</c:v>
                </c:pt>
                <c:pt idx="5">
                  <c:v>2.0924388534221509E-2</c:v>
                </c:pt>
                <c:pt idx="6">
                  <c:v>9.7264982775286581E-3</c:v>
                </c:pt>
                <c:pt idx="7">
                  <c:v>2.450657523972223E-3</c:v>
                </c:pt>
                <c:pt idx="8">
                  <c:v>1.1353843852122596E-3</c:v>
                </c:pt>
                <c:pt idx="10">
                  <c:v>7.472147171755019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5.6586027913319432E-5</c:v>
                </c:pt>
                <c:pt idx="4">
                  <c:v>5.5066542729349088E-3</c:v>
                </c:pt>
                <c:pt idx="5">
                  <c:v>5.1648661792011654E-7</c:v>
                </c:pt>
                <c:pt idx="6">
                  <c:v>1.2547394468353E-2</c:v>
                </c:pt>
                <c:pt idx="7">
                  <c:v>2.855733674351821E-3</c:v>
                </c:pt>
                <c:pt idx="8">
                  <c:v>1.644391785012875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6287945040167097E-2</c:v>
                </c:pt>
                <c:pt idx="1">
                  <c:v>1.7307216009006914E-2</c:v>
                </c:pt>
                <c:pt idx="2">
                  <c:v>1.6904441759550932E-2</c:v>
                </c:pt>
                <c:pt idx="3">
                  <c:v>3.3106067436535574E-2</c:v>
                </c:pt>
                <c:pt idx="4">
                  <c:v>3.5399496288740062E-2</c:v>
                </c:pt>
                <c:pt idx="5">
                  <c:v>6.1369932948277701E-2</c:v>
                </c:pt>
                <c:pt idx="6">
                  <c:v>7.7530542516851736E-2</c:v>
                </c:pt>
                <c:pt idx="7">
                  <c:v>0.11359528817251717</c:v>
                </c:pt>
                <c:pt idx="8">
                  <c:v>9.7144751300433749E-2</c:v>
                </c:pt>
                <c:pt idx="9">
                  <c:v>2.787216344415781E-2</c:v>
                </c:pt>
                <c:pt idx="10">
                  <c:v>1.469594267558068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1.43E-2</c:v>
                </c:pt>
                <c:pt idx="6">
                  <c:v>0.11600000000000001</c:v>
                </c:pt>
                <c:pt idx="7">
                  <c:v>0.34820000000000001</c:v>
                </c:pt>
                <c:pt idx="8">
                  <c:v>0.45779999999999998</c:v>
                </c:pt>
                <c:pt idx="9">
                  <c:v>5.8599999999999999E-2</c:v>
                </c:pt>
                <c:pt idx="10">
                  <c:v>5.0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4076700754436693E-2</c:v>
                </c:pt>
                <c:pt idx="1">
                  <c:v>2.6808770478219598E-2</c:v>
                </c:pt>
                <c:pt idx="2">
                  <c:v>3.3618921453349222E-2</c:v>
                </c:pt>
                <c:pt idx="3">
                  <c:v>4.3193698660743136E-2</c:v>
                </c:pt>
                <c:pt idx="4">
                  <c:v>6.0866470201537938E-2</c:v>
                </c:pt>
                <c:pt idx="5">
                  <c:v>0.11629275414523581</c:v>
                </c:pt>
                <c:pt idx="6">
                  <c:v>0.14114999538782796</c:v>
                </c:pt>
                <c:pt idx="7">
                  <c:v>0.18708207317322251</c:v>
                </c:pt>
                <c:pt idx="8">
                  <c:v>0.19672272953911327</c:v>
                </c:pt>
                <c:pt idx="9">
                  <c:v>0.14353338057932885</c:v>
                </c:pt>
                <c:pt idx="10">
                  <c:v>2.665450562698508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3.8307076701529591E-7</c:v>
                </c:pt>
                <c:pt idx="5">
                  <c:v>2.7913240113678099E-4</c:v>
                </c:pt>
                <c:pt idx="6">
                  <c:v>2.2620463993700407E-3</c:v>
                </c:pt>
                <c:pt idx="7">
                  <c:v>6.7875633200204372E-3</c:v>
                </c:pt>
                <c:pt idx="8">
                  <c:v>8.9228132955084145E-3</c:v>
                </c:pt>
                <c:pt idx="9">
                  <c:v>1.1432183702208248E-3</c:v>
                </c:pt>
                <c:pt idx="10">
                  <c:v>9.7466723273409472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5104435276264057E-3</c:v>
                </c:pt>
                <c:pt idx="1">
                  <c:v>1.6243417334473184E-3</c:v>
                </c:pt>
                <c:pt idx="2">
                  <c:v>9.4760486039468118E-3</c:v>
                </c:pt>
                <c:pt idx="3">
                  <c:v>2.9647063472338386E-3</c:v>
                </c:pt>
                <c:pt idx="4">
                  <c:v>1.0659466871129713E-2</c:v>
                </c:pt>
                <c:pt idx="5">
                  <c:v>3.3624212336648938E-2</c:v>
                </c:pt>
                <c:pt idx="6">
                  <c:v>3.4873370054166568E-2</c:v>
                </c:pt>
                <c:pt idx="7">
                  <c:v>5.2565894526394645E-2</c:v>
                </c:pt>
                <c:pt idx="8">
                  <c:v>7.8964049196093095E-2</c:v>
                </c:pt>
                <c:pt idx="9">
                  <c:v>0.10858238236090534</c:v>
                </c:pt>
                <c:pt idx="10">
                  <c:v>1.621735500217142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4872159190005607E-7</c:v>
                </c:pt>
                <c:pt idx="2">
                  <c:v>2.2135271066913739E-3</c:v>
                </c:pt>
                <c:pt idx="3">
                  <c:v>6.6172094965712827E-5</c:v>
                </c:pt>
                <c:pt idx="4">
                  <c:v>4.7248894813796873E-3</c:v>
                </c:pt>
                <c:pt idx="5">
                  <c:v>1.8605413657029873E-2</c:v>
                </c:pt>
                <c:pt idx="6">
                  <c:v>6.4526693353509478E-3</c:v>
                </c:pt>
                <c:pt idx="7">
                  <c:v>4.309825545246255E-3</c:v>
                </c:pt>
                <c:pt idx="8">
                  <c:v>1.1538587241140381E-3</c:v>
                </c:pt>
                <c:pt idx="10">
                  <c:v>6.9178073808056378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8.7565470624790579E-6</c:v>
                </c:pt>
                <c:pt idx="2">
                  <c:v>4.2633523011349402E-6</c:v>
                </c:pt>
                <c:pt idx="4">
                  <c:v>5.5903860522293286E-3</c:v>
                </c:pt>
                <c:pt idx="5">
                  <c:v>2.0296215915196892E-3</c:v>
                </c:pt>
                <c:pt idx="6">
                  <c:v>1.1919503798430578E-2</c:v>
                </c:pt>
                <c:pt idx="7">
                  <c:v>7.4942702978698797E-3</c:v>
                </c:pt>
                <c:pt idx="8">
                  <c:v>1.168632186247600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557351958155909E-2</c:v>
                </c:pt>
                <c:pt idx="1">
                  <c:v>2.518442874477228E-2</c:v>
                </c:pt>
                <c:pt idx="2">
                  <c:v>2.1925082390409897E-2</c:v>
                </c:pt>
                <c:pt idx="3">
                  <c:v>4.0162820218543588E-2</c:v>
                </c:pt>
                <c:pt idx="4">
                  <c:v>3.9891344726032202E-2</c:v>
                </c:pt>
                <c:pt idx="5">
                  <c:v>6.1754374158900532E-2</c:v>
                </c:pt>
                <c:pt idx="6">
                  <c:v>8.564240580050983E-2</c:v>
                </c:pt>
                <c:pt idx="7">
                  <c:v>0.11592451948369127</c:v>
                </c:pt>
                <c:pt idx="8">
                  <c:v>9.5995686460921659E-2</c:v>
                </c:pt>
                <c:pt idx="9">
                  <c:v>3.3807779848202664E-2</c:v>
                </c:pt>
                <c:pt idx="10">
                  <c:v>1.033276609415944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2.3E-3</c:v>
                </c:pt>
                <c:pt idx="5">
                  <c:v>0.17979999999999999</c:v>
                </c:pt>
                <c:pt idx="6">
                  <c:v>2.9499999999999998E-2</c:v>
                </c:pt>
                <c:pt idx="7">
                  <c:v>0.1542</c:v>
                </c:pt>
                <c:pt idx="8">
                  <c:v>0.57679999999999998</c:v>
                </c:pt>
                <c:pt idx="9">
                  <c:v>5.7200000000000001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442252761138651E-2</c:v>
                </c:pt>
                <c:pt idx="1">
                  <c:v>1.2001151939103054E-2</c:v>
                </c:pt>
                <c:pt idx="2">
                  <c:v>1.4271461085164992E-2</c:v>
                </c:pt>
                <c:pt idx="3">
                  <c:v>7.3545625941690701E-2</c:v>
                </c:pt>
                <c:pt idx="4">
                  <c:v>5.4250404213041364E-2</c:v>
                </c:pt>
                <c:pt idx="5">
                  <c:v>0.12550902281882184</c:v>
                </c:pt>
                <c:pt idx="6">
                  <c:v>0.1211517910584342</c:v>
                </c:pt>
                <c:pt idx="7">
                  <c:v>0.187042554643229</c:v>
                </c:pt>
                <c:pt idx="8">
                  <c:v>0.21492993040072444</c:v>
                </c:pt>
                <c:pt idx="9">
                  <c:v>0.11520676347948282</c:v>
                </c:pt>
                <c:pt idx="10">
                  <c:v>6.766876680892111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3.0219061255971187E-6</c:v>
                </c:pt>
                <c:pt idx="1">
                  <c:v>4.3718462740121953E-3</c:v>
                </c:pt>
                <c:pt idx="2">
                  <c:v>8.9954374743274682E-4</c:v>
                </c:pt>
                <c:pt idx="4">
                  <c:v>8.3899626069911616E-5</c:v>
                </c:pt>
                <c:pt idx="5">
                  <c:v>5.8715808700702046E-3</c:v>
                </c:pt>
                <c:pt idx="6">
                  <c:v>8.6349960236895798E-4</c:v>
                </c:pt>
                <c:pt idx="7">
                  <c:v>7.3904714729586662E-3</c:v>
                </c:pt>
                <c:pt idx="8">
                  <c:v>7.8400447642725003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3.68891275766225E-4</c:v>
                </c:pt>
                <c:pt idx="2">
                  <c:v>3.1546627787033509E-3</c:v>
                </c:pt>
                <c:pt idx="3">
                  <c:v>2.6976164574412067E-2</c:v>
                </c:pt>
                <c:pt idx="4">
                  <c:v>8.6843998718343415E-3</c:v>
                </c:pt>
                <c:pt idx="5">
                  <c:v>1.3560795104599567E-2</c:v>
                </c:pt>
                <c:pt idx="6">
                  <c:v>2.6845054140642827E-2</c:v>
                </c:pt>
                <c:pt idx="7">
                  <c:v>5.3999775953001844E-2</c:v>
                </c:pt>
                <c:pt idx="8">
                  <c:v>6.9858842908345542E-2</c:v>
                </c:pt>
                <c:pt idx="9">
                  <c:v>8.2442330547880333E-2</c:v>
                </c:pt>
                <c:pt idx="10">
                  <c:v>5.312329654432198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8.0480555139236028E-5</c:v>
                </c:pt>
                <c:pt idx="1">
                  <c:v>8.2967152179727361E-4</c:v>
                </c:pt>
                <c:pt idx="2">
                  <c:v>2.2578531368128109E-4</c:v>
                </c:pt>
                <c:pt idx="3">
                  <c:v>1.6869661435883389E-3</c:v>
                </c:pt>
                <c:pt idx="4">
                  <c:v>5.4847250818887633E-3</c:v>
                </c:pt>
                <c:pt idx="5">
                  <c:v>2.3005759822147528E-2</c:v>
                </c:pt>
                <c:pt idx="6">
                  <c:v>4.8940431645387132E-3</c:v>
                </c:pt>
                <c:pt idx="7">
                  <c:v>1.0633068841911059E-2</c:v>
                </c:pt>
                <c:pt idx="8">
                  <c:v>7.8153226941592817E-3</c:v>
                </c:pt>
                <c:pt idx="9">
                  <c:v>1.7149979204105444E-3</c:v>
                </c:pt>
                <c:pt idx="10">
                  <c:v>1.0412285502369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price Des Dieux</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62474132051864E-6</c:v>
                </c:pt>
                <c:pt idx="1">
                  <c:v>1.1851628024008509E-5</c:v>
                </c:pt>
                <c:pt idx="2">
                  <c:v>5.0951064081067765E-4</c:v>
                </c:pt>
                <c:pt idx="3">
                  <c:v>1.2891739332380697E-3</c:v>
                </c:pt>
                <c:pt idx="4">
                  <c:v>5.7239909748960415E-3</c:v>
                </c:pt>
                <c:pt idx="5">
                  <c:v>2.0644580519885967E-2</c:v>
                </c:pt>
                <c:pt idx="6">
                  <c:v>6.1722864316196232E-4</c:v>
                </c:pt>
                <c:pt idx="7">
                  <c:v>1.330682260178105E-2</c:v>
                </c:pt>
                <c:pt idx="8">
                  <c:v>6.9740988569447259E-4</c:v>
                </c:pt>
                <c:pt idx="9">
                  <c:v>2.62474132051864E-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4336400408801159E-2</c:v>
                </c:pt>
                <c:pt idx="1">
                  <c:v>6.4188912395033515E-3</c:v>
                </c:pt>
                <c:pt idx="2">
                  <c:v>9.4819586045369365E-3</c:v>
                </c:pt>
                <c:pt idx="3">
                  <c:v>4.3593321290452229E-2</c:v>
                </c:pt>
                <c:pt idx="4">
                  <c:v>3.4273388658352305E-2</c:v>
                </c:pt>
                <c:pt idx="5">
                  <c:v>6.2426306502118563E-2</c:v>
                </c:pt>
                <c:pt idx="6">
                  <c:v>8.7931965507721727E-2</c:v>
                </c:pt>
                <c:pt idx="7">
                  <c:v>0.10171241577357637</c:v>
                </c:pt>
                <c:pt idx="8">
                  <c:v>0.12871831014825263</c:v>
                </c:pt>
                <c:pt idx="9">
                  <c:v>3.1046810269871411E-2</c:v>
                </c:pt>
                <c:pt idx="10">
                  <c:v>4.1331847622300367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5.625350202944884E-5</c:v>
                </c:pt>
                <c:pt idx="5">
                  <c:v>4.3894136216223335E-3</c:v>
                </c:pt>
                <c:pt idx="6">
                  <c:v>7.2094621740412322E-4</c:v>
                </c:pt>
                <c:pt idx="7">
                  <c:v>3.765289276482342E-3</c:v>
                </c:pt>
                <c:pt idx="8">
                  <c:v>1.4081201875497398E-2</c:v>
                </c:pt>
                <c:pt idx="9">
                  <c:v>1.3972833443827652E-3</c:v>
                </c:pt>
                <c:pt idx="10">
                  <c:v>5.9862521345161971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3.68891275766225E-4</c:v>
                </c:pt>
                <c:pt idx="2">
                  <c:v>3.1546627787033509E-3</c:v>
                </c:pt>
                <c:pt idx="3">
                  <c:v>2.6976164574412067E-2</c:v>
                </c:pt>
                <c:pt idx="4">
                  <c:v>8.6843998718343415E-3</c:v>
                </c:pt>
                <c:pt idx="5">
                  <c:v>1.3560795104599567E-2</c:v>
                </c:pt>
                <c:pt idx="6">
                  <c:v>2.6845054140642827E-2</c:v>
                </c:pt>
                <c:pt idx="7">
                  <c:v>5.3999775953001844E-2</c:v>
                </c:pt>
                <c:pt idx="8">
                  <c:v>6.9858842908345542E-2</c:v>
                </c:pt>
                <c:pt idx="9">
                  <c:v>8.2442330547880333E-2</c:v>
                </c:pt>
                <c:pt idx="10">
                  <c:v>5.312329654432198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8.0480555139236028E-5</c:v>
                </c:pt>
                <c:pt idx="1">
                  <c:v>8.2967152179727361E-4</c:v>
                </c:pt>
                <c:pt idx="2">
                  <c:v>2.2578531368128109E-4</c:v>
                </c:pt>
                <c:pt idx="3">
                  <c:v>1.6869661435883389E-3</c:v>
                </c:pt>
                <c:pt idx="4">
                  <c:v>5.4847250818887633E-3</c:v>
                </c:pt>
                <c:pt idx="5">
                  <c:v>2.3005759822147528E-2</c:v>
                </c:pt>
                <c:pt idx="6">
                  <c:v>4.8940431645387132E-3</c:v>
                </c:pt>
                <c:pt idx="7">
                  <c:v>1.0633068841911059E-2</c:v>
                </c:pt>
                <c:pt idx="8">
                  <c:v>7.8153226941592817E-3</c:v>
                </c:pt>
                <c:pt idx="9">
                  <c:v>1.7149979204105444E-3</c:v>
                </c:pt>
                <c:pt idx="10">
                  <c:v>1.0412285502369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price Des Dieux</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62474132051864E-6</c:v>
                </c:pt>
                <c:pt idx="1">
                  <c:v>1.1851628024008509E-5</c:v>
                </c:pt>
                <c:pt idx="2">
                  <c:v>5.0951064081067765E-4</c:v>
                </c:pt>
                <c:pt idx="3">
                  <c:v>1.2891739332380697E-3</c:v>
                </c:pt>
                <c:pt idx="4">
                  <c:v>5.7239909748960415E-3</c:v>
                </c:pt>
                <c:pt idx="5">
                  <c:v>2.0644580519885967E-2</c:v>
                </c:pt>
                <c:pt idx="6">
                  <c:v>6.1722864316196232E-4</c:v>
                </c:pt>
                <c:pt idx="7">
                  <c:v>1.330682260178105E-2</c:v>
                </c:pt>
                <c:pt idx="8">
                  <c:v>6.9740988569447259E-4</c:v>
                </c:pt>
                <c:pt idx="9">
                  <c:v>2.62474132051864E-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4339422314926756E-2</c:v>
                </c:pt>
                <c:pt idx="1">
                  <c:v>1.0790737513515548E-2</c:v>
                </c:pt>
                <c:pt idx="2">
                  <c:v>1.0381502351969683E-2</c:v>
                </c:pt>
                <c:pt idx="3">
                  <c:v>4.3593321290452229E-2</c:v>
                </c:pt>
                <c:pt idx="4">
                  <c:v>3.430103478239277E-2</c:v>
                </c:pt>
                <c:pt idx="5">
                  <c:v>6.3908473750566436E-2</c:v>
                </c:pt>
                <c:pt idx="6">
                  <c:v>8.8074518892686568E-2</c:v>
                </c:pt>
                <c:pt idx="7">
                  <c:v>0.1053375979700527</c:v>
                </c:pt>
                <c:pt idx="8">
                  <c:v>0.12247715303702775</c:v>
                </c:pt>
                <c:pt idx="9">
                  <c:v>2.9649526925488646E-2</c:v>
                </c:pt>
                <c:pt idx="10">
                  <c:v>4.132586137016585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0.99839999999999995</c:v>
                </c:pt>
                <c:pt idx="6">
                  <c:v>1.6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097551613754901E-2</c:v>
                </c:pt>
                <c:pt idx="1">
                  <c:v>1.1038120023828693E-3</c:v>
                </c:pt>
                <c:pt idx="2">
                  <c:v>1.5282875797082282E-3</c:v>
                </c:pt>
                <c:pt idx="3">
                  <c:v>0.24074556770459496</c:v>
                </c:pt>
                <c:pt idx="4">
                  <c:v>0.25074804702660702</c:v>
                </c:pt>
                <c:pt idx="5">
                  <c:v>9.5015674280341231E-2</c:v>
                </c:pt>
                <c:pt idx="6">
                  <c:v>1.7766219714730622E-2</c:v>
                </c:pt>
                <c:pt idx="7">
                  <c:v>0.15861178296232292</c:v>
                </c:pt>
                <c:pt idx="8">
                  <c:v>0.20674302461709723</c:v>
                </c:pt>
                <c:pt idx="9">
                  <c:v>9.6400324984600664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5">
                  <c:v>8.809876440111869E-2</c:v>
                </c:pt>
                <c:pt idx="6">
                  <c:v>1.3890199562935858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3.1334301198831354E-5</c:v>
                </c:pt>
                <c:pt idx="3">
                  <c:v>0.23922943724874743</c:v>
                </c:pt>
                <c:pt idx="4">
                  <c:v>0.24634596161734573</c:v>
                </c:pt>
                <c:pt idx="5">
                  <c:v>3.6273384136339092E-3</c:v>
                </c:pt>
                <c:pt idx="6">
                  <c:v>9.0066920487912733E-4</c:v>
                </c:pt>
                <c:pt idx="7">
                  <c:v>4.8577051613370996E-2</c:v>
                </c:pt>
                <c:pt idx="8">
                  <c:v>4.212907765016434E-2</c:v>
                </c:pt>
                <c:pt idx="9">
                  <c:v>6.201632242871619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3.9853428595946522E-6</c:v>
                </c:pt>
                <c:pt idx="7">
                  <c:v>2.9623711605380565E-3</c:v>
                </c:pt>
                <c:pt idx="8">
                  <c:v>0.160223415395686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7">
                  <c:v>5.200002237642045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8097551613754901E-2</c:v>
                </c:pt>
                <c:pt idx="1">
                  <c:v>1.1038120023828693E-3</c:v>
                </c:pt>
                <c:pt idx="2">
                  <c:v>1.4969532785093971E-3</c:v>
                </c:pt>
                <c:pt idx="3">
                  <c:v>1.5161304558475382E-3</c:v>
                </c:pt>
                <c:pt idx="4">
                  <c:v>4.3981000664016622E-3</c:v>
                </c:pt>
                <c:pt idx="5">
                  <c:v>3.28957146558863E-3</c:v>
                </c:pt>
                <c:pt idx="6">
                  <c:v>1.6726648514222134E-2</c:v>
                </c:pt>
                <c:pt idx="7">
                  <c:v>5.5072337811993388E-2</c:v>
                </c:pt>
                <c:pt idx="8">
                  <c:v>4.3905315712462851E-3</c:v>
                </c:pt>
                <c:pt idx="9">
                  <c:v>3.438400255588447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1.9400000000000001E-2</c:v>
                </c:pt>
                <c:pt idx="5">
                  <c:v>0.76880000000000004</c:v>
                </c:pt>
                <c:pt idx="6">
                  <c:v>0.2117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346815577936997E-2</c:v>
                </c:pt>
                <c:pt idx="1">
                  <c:v>4.444336608054893E-3</c:v>
                </c:pt>
                <c:pt idx="2">
                  <c:v>3.6017149221030359E-2</c:v>
                </c:pt>
                <c:pt idx="3">
                  <c:v>0.14561464720112</c:v>
                </c:pt>
                <c:pt idx="4">
                  <c:v>0.31870308409378206</c:v>
                </c:pt>
                <c:pt idx="5">
                  <c:v>8.3049979740238325E-2</c:v>
                </c:pt>
                <c:pt idx="6">
                  <c:v>7.8023811892358796E-2</c:v>
                </c:pt>
                <c:pt idx="7">
                  <c:v>0.11515289447697061</c:v>
                </c:pt>
                <c:pt idx="8">
                  <c:v>0.1802110412061716</c:v>
                </c:pt>
                <c:pt idx="9">
                  <c:v>1.543623998233640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1.9428990141866858E-3</c:v>
                </c:pt>
                <c:pt idx="5">
                  <c:v>7.6898970512948056E-2</c:v>
                </c:pt>
                <c:pt idx="6">
                  <c:v>2.118923587943136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8526375298133922E-6</c:v>
                </c:pt>
                <c:pt idx="1">
                  <c:v>4.149199193491643E-3</c:v>
                </c:pt>
                <c:pt idx="2">
                  <c:v>3.5030122747466315E-2</c:v>
                </c:pt>
                <c:pt idx="3">
                  <c:v>0.14359216493144436</c:v>
                </c:pt>
                <c:pt idx="4">
                  <c:v>0.31161910677500987</c:v>
                </c:pt>
                <c:pt idx="5">
                  <c:v>1.2019983161347771E-3</c:v>
                </c:pt>
                <c:pt idx="6">
                  <c:v>2.9343899142781579E-3</c:v>
                </c:pt>
                <c:pt idx="7">
                  <c:v>3.5483747303753276E-2</c:v>
                </c:pt>
                <c:pt idx="8">
                  <c:v>5.4894006264755053E-2</c:v>
                </c:pt>
                <c:pt idx="9">
                  <c:v>4.390181173222175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5">
                  <c:v>3.0086352684843029E-6</c:v>
                </c:pt>
                <c:pt idx="7">
                  <c:v>4.3893659301171672E-2</c:v>
                </c:pt>
                <c:pt idx="8">
                  <c:v>0.120400439648960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6">
                  <c:v>4.904221066755308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3341962940407184E-2</c:v>
                </c:pt>
                <c:pt idx="1">
                  <c:v>2.9513741456325049E-4</c:v>
                </c:pt>
                <c:pt idx="2">
                  <c:v>9.8702647356404389E-4</c:v>
                </c:pt>
                <c:pt idx="3">
                  <c:v>2.0224822696756255E-3</c:v>
                </c:pt>
                <c:pt idx="4">
                  <c:v>5.1410783045854995E-3</c:v>
                </c:pt>
                <c:pt idx="5">
                  <c:v>4.9460022758870013E-3</c:v>
                </c:pt>
                <c:pt idx="6">
                  <c:v>4.8579754310961861E-3</c:v>
                </c:pt>
                <c:pt idx="7">
                  <c:v>3.5775487872045653E-2</c:v>
                </c:pt>
                <c:pt idx="8">
                  <c:v>4.9165952924563319E-3</c:v>
                </c:pt>
                <c:pt idx="9">
                  <c:v>1.104605880911422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0.95579999999999998</c:v>
                </c:pt>
                <c:pt idx="6">
                  <c:v>4.4200000000000003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8.3531651380679903E-3</c:v>
                </c:pt>
                <c:pt idx="3">
                  <c:v>0.38021225596049668</c:v>
                </c:pt>
                <c:pt idx="4">
                  <c:v>0.10773548689713384</c:v>
                </c:pt>
                <c:pt idx="5">
                  <c:v>0.11240208748273982</c:v>
                </c:pt>
                <c:pt idx="6">
                  <c:v>5.7039334901111492E-3</c:v>
                </c:pt>
                <c:pt idx="7">
                  <c:v>0.18405881254330331</c:v>
                </c:pt>
                <c:pt idx="8">
                  <c:v>0.2011401678119552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5">
                  <c:v>0.11240208748273982</c:v>
                </c:pt>
                <c:pt idx="6">
                  <c:v>5.1927535628622044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8.3435823860633241E-3</c:v>
                </c:pt>
                <c:pt idx="3">
                  <c:v>0.38001590936473439</c:v>
                </c:pt>
                <c:pt idx="4">
                  <c:v>0.10724137624689321</c:v>
                </c:pt>
                <c:pt idx="7">
                  <c:v>3.8468460617734138E-2</c:v>
                </c:pt>
                <c:pt idx="8">
                  <c:v>4.210651248817253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6">
                  <c:v>6.8676389366778733E-5</c:v>
                </c:pt>
                <c:pt idx="7">
                  <c:v>4.1238774330083286E-3</c:v>
                </c:pt>
                <c:pt idx="8">
                  <c:v>0.1395332540959526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7">
                  <c:v>8.074436821165584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2">
                  <c:v>9.5827520046668004E-6</c:v>
                </c:pt>
                <c:pt idx="3">
                  <c:v>1.9634659576228745E-4</c:v>
                </c:pt>
                <c:pt idx="4">
                  <c:v>4.9411065024063193E-4</c:v>
                </c:pt>
                <c:pt idx="6">
                  <c:v>4.4250353788216591E-4</c:v>
                </c:pt>
                <c:pt idx="7">
                  <c:v>6.0722106280904999E-2</c:v>
                </c:pt>
                <c:pt idx="8">
                  <c:v>1.95004012278300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9714416230522547E-2</c:v>
                </c:pt>
                <c:pt idx="1">
                  <c:v>2.2345770538797674E-2</c:v>
                </c:pt>
                <c:pt idx="2">
                  <c:v>3.4290183944523427E-2</c:v>
                </c:pt>
                <c:pt idx="3">
                  <c:v>8.0807880654489975E-2</c:v>
                </c:pt>
                <c:pt idx="4">
                  <c:v>0.16453614933211275</c:v>
                </c:pt>
                <c:pt idx="5">
                  <c:v>0.12102190703651872</c:v>
                </c:pt>
                <c:pt idx="6">
                  <c:v>6.8379321560170542E-2</c:v>
                </c:pt>
                <c:pt idx="7">
                  <c:v>0.27703323856372303</c:v>
                </c:pt>
                <c:pt idx="8">
                  <c:v>0.16530007726544974</c:v>
                </c:pt>
                <c:pt idx="9">
                  <c:v>4.2694142118576014E-2</c:v>
                </c:pt>
                <c:pt idx="10">
                  <c:v>3.876912755115576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9709750398471171E-2</c:v>
                </c:pt>
                <c:pt idx="1">
                  <c:v>2.2345770538797674E-2</c:v>
                </c:pt>
                <c:pt idx="2">
                  <c:v>2.2673027624663761E-5</c:v>
                </c:pt>
                <c:pt idx="3">
                  <c:v>3.8211269006512912E-3</c:v>
                </c:pt>
                <c:pt idx="4">
                  <c:v>0.11408516349319735</c:v>
                </c:pt>
                <c:pt idx="5">
                  <c:v>1.9640236791268222E-5</c:v>
                </c:pt>
                <c:pt idx="6">
                  <c:v>2.5733055252659218E-2</c:v>
                </c:pt>
                <c:pt idx="7">
                  <c:v>7.3872398343894988E-2</c:v>
                </c:pt>
                <c:pt idx="8">
                  <c:v>3.6807582595306237E-3</c:v>
                </c:pt>
                <c:pt idx="10">
                  <c:v>3.4703583954638081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2.5516269030972075E-7</c:v>
                </c:pt>
                <c:pt idx="3">
                  <c:v>7.015941668175954E-2</c:v>
                </c:pt>
                <c:pt idx="4">
                  <c:v>3.9081359199743898E-2</c:v>
                </c:pt>
                <c:pt idx="5">
                  <c:v>4.124769773083601E-2</c:v>
                </c:pt>
                <c:pt idx="6">
                  <c:v>2.2447565871506092E-2</c:v>
                </c:pt>
                <c:pt idx="7">
                  <c:v>7.0072880077931637E-2</c:v>
                </c:pt>
                <c:pt idx="8">
                  <c:v>1.7753607601293627E-2</c:v>
                </c:pt>
                <c:pt idx="9">
                  <c:v>1.3094949266694871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3.4267255754208456E-2</c:v>
                </c:pt>
                <c:pt idx="3">
                  <c:v>6.8273370720791371E-3</c:v>
                </c:pt>
                <c:pt idx="4">
                  <c:v>9.9118530279817454E-3</c:v>
                </c:pt>
                <c:pt idx="5">
                  <c:v>2.6441787850900917E-2</c:v>
                </c:pt>
                <c:pt idx="6">
                  <c:v>1.4726532412161027E-6</c:v>
                </c:pt>
                <c:pt idx="7">
                  <c:v>6.4171820023489701E-2</c:v>
                </c:pt>
                <c:pt idx="8">
                  <c:v>6.276456862498126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6658320513777511E-6</c:v>
                </c:pt>
                <c:pt idx="4">
                  <c:v>1.4577736111897558E-3</c:v>
                </c:pt>
                <c:pt idx="5">
                  <c:v>5.3312781217990525E-2</c:v>
                </c:pt>
                <c:pt idx="6">
                  <c:v>2.0197227782764022E-2</c:v>
                </c:pt>
                <c:pt idx="7">
                  <c:v>6.8916140118406716E-2</c:v>
                </c:pt>
                <c:pt idx="8">
                  <c:v>8.1101142779644225E-2</c:v>
                </c:pt>
                <c:pt idx="9">
                  <c:v>4.2563192625909067E-2</c:v>
                </c:pt>
                <c:pt idx="10">
                  <c:v>3.529876915569195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6805477649151867E-2</c:v>
                </c:pt>
                <c:pt idx="1">
                  <c:v>4.5407020016068167E-2</c:v>
                </c:pt>
                <c:pt idx="2">
                  <c:v>3.4094052235638918E-2</c:v>
                </c:pt>
                <c:pt idx="3">
                  <c:v>0.10811884818817145</c:v>
                </c:pt>
                <c:pt idx="4">
                  <c:v>0.16540679175863299</c:v>
                </c:pt>
                <c:pt idx="5">
                  <c:v>9.9729932584249212E-2</c:v>
                </c:pt>
                <c:pt idx="6">
                  <c:v>9.5739273110062556E-2</c:v>
                </c:pt>
                <c:pt idx="7">
                  <c:v>0.19579893844579263</c:v>
                </c:pt>
                <c:pt idx="8">
                  <c:v>0.18662621492811068</c:v>
                </c:pt>
                <c:pt idx="9">
                  <c:v>2.094787125337853E-2</c:v>
                </c:pt>
                <c:pt idx="10">
                  <c:v>1.132557983074297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3.6797620962071183E-2</c:v>
                </c:pt>
                <c:pt idx="1">
                  <c:v>4.5384731835349808E-2</c:v>
                </c:pt>
                <c:pt idx="2">
                  <c:v>6.2928341927653061E-3</c:v>
                </c:pt>
                <c:pt idx="3">
                  <c:v>8.6582345668511241E-3</c:v>
                </c:pt>
                <c:pt idx="4">
                  <c:v>7.5227530691631198E-2</c:v>
                </c:pt>
                <c:pt idx="5">
                  <c:v>5.5666695515870282E-4</c:v>
                </c:pt>
                <c:pt idx="6">
                  <c:v>9.3927521069257069E-3</c:v>
                </c:pt>
                <c:pt idx="7">
                  <c:v>4.3276493234710132E-2</c:v>
                </c:pt>
                <c:pt idx="8">
                  <c:v>4.9627715017780301E-2</c:v>
                </c:pt>
                <c:pt idx="10">
                  <c:v>5.7403436870547562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5.9131908028297804E-6</c:v>
                </c:pt>
                <c:pt idx="1">
                  <c:v>2.0055227548059046E-5</c:v>
                </c:pt>
                <c:pt idx="2">
                  <c:v>3.1137291430285486E-5</c:v>
                </c:pt>
                <c:pt idx="3">
                  <c:v>6.7302200976453883E-2</c:v>
                </c:pt>
                <c:pt idx="4">
                  <c:v>7.3258272750350337E-2</c:v>
                </c:pt>
                <c:pt idx="5">
                  <c:v>3.46323593536196E-2</c:v>
                </c:pt>
                <c:pt idx="6">
                  <c:v>3.1598520312906206E-2</c:v>
                </c:pt>
                <c:pt idx="7">
                  <c:v>4.0062529304925924E-2</c:v>
                </c:pt>
                <c:pt idx="8">
                  <c:v>1.7947940020065979E-2</c:v>
                </c:pt>
                <c:pt idx="9">
                  <c:v>1.3892483552955994E-2</c:v>
                </c:pt>
                <c:pt idx="10">
                  <c:v>1.2405295390551985E-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9434962778531443E-6</c:v>
                </c:pt>
                <c:pt idx="1">
                  <c:v>2.2329531702993578E-6</c:v>
                </c:pt>
                <c:pt idx="2">
                  <c:v>2.7770080751443327E-2</c:v>
                </c:pt>
                <c:pt idx="3">
                  <c:v>3.1861967436016901E-2</c:v>
                </c:pt>
                <c:pt idx="4">
                  <c:v>1.691900346938896E-2</c:v>
                </c:pt>
                <c:pt idx="5">
                  <c:v>2.0802357138447355E-2</c:v>
                </c:pt>
                <c:pt idx="6">
                  <c:v>1.7400080824634567E-2</c:v>
                </c:pt>
                <c:pt idx="7">
                  <c:v>5.1980627394506297E-2</c:v>
                </c:pt>
                <c:pt idx="8">
                  <c:v>6.171832941525862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3">
                  <c:v>2.9644520884955728E-4</c:v>
                </c:pt>
                <c:pt idx="4">
                  <c:v>1.9848472624883176E-6</c:v>
                </c:pt>
                <c:pt idx="5">
                  <c:v>4.3738549137023561E-2</c:v>
                </c:pt>
                <c:pt idx="6">
                  <c:v>3.7347919865596067E-2</c:v>
                </c:pt>
                <c:pt idx="7">
                  <c:v>6.0479288511650291E-2</c:v>
                </c:pt>
                <c:pt idx="8">
                  <c:v>5.733223047500579E-2</c:v>
                </c:pt>
                <c:pt idx="9">
                  <c:v>7.0553877004225366E-3</c:v>
                </c:pt>
                <c:pt idx="10">
                  <c:v>1.075142140908359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3.8897799983816629E-2</c:v>
                </c:pt>
                <c:pt idx="2">
                  <c:v>1.763736145551981E-2</c:v>
                </c:pt>
                <c:pt idx="3">
                  <c:v>0.22477381694972196</c:v>
                </c:pt>
                <c:pt idx="4">
                  <c:v>0.11083399654413399</c:v>
                </c:pt>
                <c:pt idx="5">
                  <c:v>0.10979447122894243</c:v>
                </c:pt>
                <c:pt idx="6">
                  <c:v>1.7616876179823847E-2</c:v>
                </c:pt>
                <c:pt idx="7">
                  <c:v>0.22932390396093047</c:v>
                </c:pt>
                <c:pt idx="8">
                  <c:v>0.16853226072429789</c:v>
                </c:pt>
                <c:pt idx="9">
                  <c:v>8.214544340891376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8.8598817385034079E-6</c:v>
                </c:pt>
                <c:pt idx="3">
                  <c:v>0.14632611944349699</c:v>
                </c:pt>
                <c:pt idx="4">
                  <c:v>1.0608453658721453E-2</c:v>
                </c:pt>
                <c:pt idx="5">
                  <c:v>1.7975829423206335E-5</c:v>
                </c:pt>
                <c:pt idx="6">
                  <c:v>6.4528618442279151E-6</c:v>
                </c:pt>
                <c:pt idx="7">
                  <c:v>2.055856176976394E-2</c:v>
                </c:pt>
                <c:pt idx="8">
                  <c:v>6.343675324768439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9.6249555725583351E-3</c:v>
                </c:pt>
                <c:pt idx="3">
                  <c:v>7.8447697506224962E-2</c:v>
                </c:pt>
                <c:pt idx="4">
                  <c:v>8.9890567657232176E-2</c:v>
                </c:pt>
                <c:pt idx="5">
                  <c:v>1.1853292649575801E-3</c:v>
                </c:pt>
                <c:pt idx="6">
                  <c:v>9.9112373004093986E-3</c:v>
                </c:pt>
                <c:pt idx="7">
                  <c:v>9.702676708548813E-2</c:v>
                </c:pt>
                <c:pt idx="8">
                  <c:v>3.70829581967221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1.4851824879572185E-6</c:v>
                </c:pt>
                <c:pt idx="6">
                  <c:v>1.3315429202375063E-6</c:v>
                </c:pt>
                <c:pt idx="7">
                  <c:v>4.3669281612109256E-2</c:v>
                </c:pt>
                <c:pt idx="8">
                  <c:v>1.3213002823895256E-5</c:v>
                </c:pt>
                <c:pt idx="9">
                  <c:v>8.214544340891376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3.8897799983816629E-2</c:v>
                </c:pt>
                <c:pt idx="2">
                  <c:v>8.0035460012229716E-3</c:v>
                </c:pt>
                <c:pt idx="4">
                  <c:v>1.0334975228180363E-2</c:v>
                </c:pt>
                <c:pt idx="5">
                  <c:v>0.10858968095207368</c:v>
                </c:pt>
                <c:pt idx="6">
                  <c:v>7.6978544746499839E-3</c:v>
                </c:pt>
                <c:pt idx="7">
                  <c:v>6.8069293493569161E-2</c:v>
                </c:pt>
                <c:pt idx="8">
                  <c:v>0.1013739986541173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5.5999999999999999E-3</c:v>
                </c:pt>
                <c:pt idx="5">
                  <c:v>0.1958</c:v>
                </c:pt>
                <c:pt idx="7">
                  <c:v>0.32279999999999998</c:v>
                </c:pt>
                <c:pt idx="8">
                  <c:v>0.40649999999999997</c:v>
                </c:pt>
                <c:pt idx="9">
                  <c:v>6.5299999999999997E-2</c:v>
                </c:pt>
                <c:pt idx="10">
                  <c:v>4.0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6704377507072776E-2</c:v>
                </c:pt>
                <c:pt idx="1">
                  <c:v>1.9033626479877733E-2</c:v>
                </c:pt>
                <c:pt idx="2">
                  <c:v>1.9827508280769839E-2</c:v>
                </c:pt>
                <c:pt idx="3">
                  <c:v>4.6176309521501771E-2</c:v>
                </c:pt>
                <c:pt idx="4">
                  <c:v>6.9141447185096516E-2</c:v>
                </c:pt>
                <c:pt idx="5">
                  <c:v>9.9088582204497205E-2</c:v>
                </c:pt>
                <c:pt idx="6">
                  <c:v>0.12890045057876501</c:v>
                </c:pt>
                <c:pt idx="7">
                  <c:v>0.17819960100478047</c:v>
                </c:pt>
                <c:pt idx="8">
                  <c:v>0.24263268612335279</c:v>
                </c:pt>
                <c:pt idx="9">
                  <c:v>9.1669505526999359E-2</c:v>
                </c:pt>
                <c:pt idx="10">
                  <c:v>8.862590558728655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097551613754901E-2</c:v>
                </c:pt>
                <c:pt idx="1">
                  <c:v>1.1038120023828693E-3</c:v>
                </c:pt>
                <c:pt idx="2">
                  <c:v>1.5282875797082282E-3</c:v>
                </c:pt>
                <c:pt idx="3">
                  <c:v>0.24074556770459496</c:v>
                </c:pt>
                <c:pt idx="4">
                  <c:v>0.25074804702660702</c:v>
                </c:pt>
                <c:pt idx="5">
                  <c:v>9.5015674280341231E-2</c:v>
                </c:pt>
                <c:pt idx="6">
                  <c:v>1.7766219714730622E-2</c:v>
                </c:pt>
                <c:pt idx="7">
                  <c:v>0.15861178296232292</c:v>
                </c:pt>
                <c:pt idx="8">
                  <c:v>0.20674302461709723</c:v>
                </c:pt>
                <c:pt idx="9">
                  <c:v>9.6400324984600664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1.2574445260241806E-2</c:v>
                </c:pt>
                <c:pt idx="2">
                  <c:v>7.6663425080420455E-3</c:v>
                </c:pt>
                <c:pt idx="3">
                  <c:v>5.7978765788628567E-2</c:v>
                </c:pt>
                <c:pt idx="4">
                  <c:v>2.3980990241791268E-2</c:v>
                </c:pt>
                <c:pt idx="5">
                  <c:v>2.1307474066270562E-2</c:v>
                </c:pt>
                <c:pt idx="6">
                  <c:v>0.18064157338881034</c:v>
                </c:pt>
                <c:pt idx="7">
                  <c:v>0.14442246881480472</c:v>
                </c:pt>
                <c:pt idx="8">
                  <c:v>0.30330573706980096</c:v>
                </c:pt>
                <c:pt idx="9">
                  <c:v>0.14396439387256088</c:v>
                </c:pt>
                <c:pt idx="10">
                  <c:v>0.1040218862058693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5.2169058119941238E-4</c:v>
                </c:pt>
                <c:pt idx="5">
                  <c:v>1.825891858014151E-2</c:v>
                </c:pt>
                <c:pt idx="7">
                  <c:v>3.0103958299176215E-2</c:v>
                </c:pt>
                <c:pt idx="8">
                  <c:v>3.790488467516881E-2</c:v>
                </c:pt>
                <c:pt idx="9">
                  <c:v>6.0900902500959754E-3</c:v>
                </c:pt>
                <c:pt idx="10">
                  <c:v>3.7630384165791668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1.1275926362546224E-2</c:v>
                </c:pt>
                <c:pt idx="2">
                  <c:v>4.8657953197085244E-3</c:v>
                </c:pt>
                <c:pt idx="3">
                  <c:v>4.2149154401220919E-2</c:v>
                </c:pt>
                <c:pt idx="4">
                  <c:v>2.2483264789837858E-2</c:v>
                </c:pt>
                <c:pt idx="6">
                  <c:v>9.4448161682550907E-2</c:v>
                </c:pt>
                <c:pt idx="7">
                  <c:v>1.973482085823482E-2</c:v>
                </c:pt>
                <c:pt idx="8">
                  <c:v>0.1011592225058878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6">
                  <c:v>5.3197161916266004E-3</c:v>
                </c:pt>
                <c:pt idx="7">
                  <c:v>6.4896763399019636E-4</c:v>
                </c:pt>
                <c:pt idx="8">
                  <c:v>2.0839242822610453E-2</c:v>
                </c:pt>
                <c:pt idx="9">
                  <c:v>6.557852873425947E-2</c:v>
                </c:pt>
                <c:pt idx="10">
                  <c:v>9.995731721349586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Tartar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1.0286759823200477E-3</c:v>
                </c:pt>
                <c:pt idx="6">
                  <c:v>4.0806703062807497E-3</c:v>
                </c:pt>
                <c:pt idx="7">
                  <c:v>4.8291170530388838E-2</c:v>
                </c:pt>
                <c:pt idx="8">
                  <c:v>4.2742425450430249E-2</c:v>
                </c:pt>
                <c:pt idx="9">
                  <c:v>1.03754772617691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1.2985188976955815E-3</c:v>
                </c:pt>
                <c:pt idx="2">
                  <c:v>2.8005471883335211E-3</c:v>
                </c:pt>
                <c:pt idx="3">
                  <c:v>1.5829611387407648E-2</c:v>
                </c:pt>
                <c:pt idx="4">
                  <c:v>9.7603487075399796E-4</c:v>
                </c:pt>
                <c:pt idx="5">
                  <c:v>2.0198795038090019E-3</c:v>
                </c:pt>
                <c:pt idx="6">
                  <c:v>7.6793025208352086E-2</c:v>
                </c:pt>
                <c:pt idx="7">
                  <c:v>4.564355149301464E-2</c:v>
                </c:pt>
                <c:pt idx="8">
                  <c:v>0.10065996161570356</c:v>
                </c:pt>
                <c:pt idx="9">
                  <c:v>6.1920297626436305E-2</c:v>
                </c:pt>
                <c:pt idx="10">
                  <c:v>3.688265150715565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2.0400000000000001E-2</c:v>
                </c:pt>
                <c:pt idx="6">
                  <c:v>0.1653</c:v>
                </c:pt>
                <c:pt idx="7">
                  <c:v>0.38679999999999998</c:v>
                </c:pt>
                <c:pt idx="8">
                  <c:v>0.33679999999999999</c:v>
                </c:pt>
                <c:pt idx="9">
                  <c:v>8.3599999999999994E-2</c:v>
                </c:pt>
                <c:pt idx="10">
                  <c:v>7.1000000000000004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2.7505558144520048E-2</c:v>
                </c:pt>
                <c:pt idx="2">
                  <c:v>4.4503254509310457E-3</c:v>
                </c:pt>
                <c:pt idx="3">
                  <c:v>6.4716249229014172E-2</c:v>
                </c:pt>
                <c:pt idx="4">
                  <c:v>2.4844439046991046E-2</c:v>
                </c:pt>
                <c:pt idx="5">
                  <c:v>6.5073631970893664E-2</c:v>
                </c:pt>
                <c:pt idx="6">
                  <c:v>0.12226394010157357</c:v>
                </c:pt>
                <c:pt idx="7">
                  <c:v>0.24437305930213671</c:v>
                </c:pt>
                <c:pt idx="8">
                  <c:v>0.24572902336939234</c:v>
                </c:pt>
                <c:pt idx="9">
                  <c:v>0.15850126894474115</c:v>
                </c:pt>
                <c:pt idx="10">
                  <c:v>4.243778455336497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1.5171908853375233E-6</c:v>
                </c:pt>
                <c:pt idx="5">
                  <c:v>2.0882278192255596E-3</c:v>
                </c:pt>
                <c:pt idx="6">
                  <c:v>1.6922679704348721E-2</c:v>
                </c:pt>
                <c:pt idx="7">
                  <c:v>3.958883722423117E-2</c:v>
                </c:pt>
                <c:pt idx="8">
                  <c:v>3.4473442719874167E-2</c:v>
                </c:pt>
                <c:pt idx="9">
                  <c:v>8.5525735974126566E-3</c:v>
                </c:pt>
                <c:pt idx="10">
                  <c:v>7.2916193949321378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2.0651530316272263E-2</c:v>
                </c:pt>
                <c:pt idx="2">
                  <c:v>1.5243385401751135E-3</c:v>
                </c:pt>
                <c:pt idx="3">
                  <c:v>4.4125305402096381E-2</c:v>
                </c:pt>
                <c:pt idx="4">
                  <c:v>2.1155372551616352E-2</c:v>
                </c:pt>
                <c:pt idx="5">
                  <c:v>2.8571873614088271E-2</c:v>
                </c:pt>
                <c:pt idx="6">
                  <c:v>5.0025323601643933E-2</c:v>
                </c:pt>
                <c:pt idx="7">
                  <c:v>7.3200178367703553E-2</c:v>
                </c:pt>
                <c:pt idx="8">
                  <c:v>5.783201244447165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7">
                  <c:v>8.6061472933415747E-3</c:v>
                </c:pt>
                <c:pt idx="8">
                  <c:v>1.6702687025974779E-2</c:v>
                </c:pt>
                <c:pt idx="9">
                  <c:v>6.726550078526429E-2</c:v>
                </c:pt>
                <c:pt idx="10">
                  <c:v>3.709366509420507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rre Fra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4.3829958909750677E-7</c:v>
                </c:pt>
                <c:pt idx="6">
                  <c:v>3.6097005543950355E-3</c:v>
                </c:pt>
                <c:pt idx="7">
                  <c:v>4.4859726936658767E-2</c:v>
                </c:pt>
                <c:pt idx="8">
                  <c:v>2.577235299246347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6.8540278282477884E-3</c:v>
                </c:pt>
                <c:pt idx="2">
                  <c:v>2.9259869107559327E-3</c:v>
                </c:pt>
                <c:pt idx="3">
                  <c:v>2.0590943826917785E-2</c:v>
                </c:pt>
                <c:pt idx="4">
                  <c:v>3.6875493044893548E-3</c:v>
                </c:pt>
                <c:pt idx="5">
                  <c:v>3.4413092237990744E-2</c:v>
                </c:pt>
                <c:pt idx="6">
                  <c:v>5.1706236241185879E-2</c:v>
                </c:pt>
                <c:pt idx="7">
                  <c:v>7.811816948020163E-2</c:v>
                </c:pt>
                <c:pt idx="8">
                  <c:v>0.11094852818660828</c:v>
                </c:pt>
                <c:pt idx="9">
                  <c:v>8.2683194562064202E-2</c:v>
                </c:pt>
                <c:pt idx="10">
                  <c:v>4.614957519666671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2.8E-3</c:v>
                </c:pt>
                <c:pt idx="5">
                  <c:v>0.2198</c:v>
                </c:pt>
                <c:pt idx="6">
                  <c:v>3.0200000000000001E-2</c:v>
                </c:pt>
                <c:pt idx="7">
                  <c:v>0.15820000000000001</c:v>
                </c:pt>
                <c:pt idx="8">
                  <c:v>0.51890000000000003</c:v>
                </c:pt>
                <c:pt idx="9">
                  <c:v>7.0000000000000007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5.9436752523768597E-3</c:v>
                </c:pt>
                <c:pt idx="2">
                  <c:v>4.2520320660761161E-3</c:v>
                </c:pt>
                <c:pt idx="3">
                  <c:v>8.4944165828123794E-2</c:v>
                </c:pt>
                <c:pt idx="4">
                  <c:v>2.7677276536064312E-2</c:v>
                </c:pt>
                <c:pt idx="5">
                  <c:v>0.10953939421161027</c:v>
                </c:pt>
                <c:pt idx="6">
                  <c:v>0.12398962027820842</c:v>
                </c:pt>
                <c:pt idx="7">
                  <c:v>0.1210615521418764</c:v>
                </c:pt>
                <c:pt idx="8">
                  <c:v>0.3262023710047276</c:v>
                </c:pt>
                <c:pt idx="9">
                  <c:v>0.10121561452946574</c:v>
                </c:pt>
                <c:pt idx="10">
                  <c:v>9.505555908267231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3.7972412282872832E-4</c:v>
                </c:pt>
                <c:pt idx="5">
                  <c:v>2.9629555086729643E-2</c:v>
                </c:pt>
                <c:pt idx="6">
                  <c:v>4.0721750145490329E-3</c:v>
                </c:pt>
                <c:pt idx="7">
                  <c:v>2.1327844707948126E-2</c:v>
                </c:pt>
                <c:pt idx="8">
                  <c:v>6.9933581499023234E-2</c:v>
                </c:pt>
                <c:pt idx="9">
                  <c:v>9.431985087989302E-3</c:v>
                </c:pt>
                <c:pt idx="10">
                  <c:v>4.0408583622416603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5.9393624131633136E-3</c:v>
                </c:pt>
                <c:pt idx="2">
                  <c:v>3.4217133814501135E-3</c:v>
                </c:pt>
                <c:pt idx="3">
                  <c:v>7.5558495193670958E-2</c:v>
                </c:pt>
                <c:pt idx="4">
                  <c:v>2.5939862857929714E-2</c:v>
                </c:pt>
                <c:pt idx="5">
                  <c:v>7.0621965033675502E-2</c:v>
                </c:pt>
                <c:pt idx="6">
                  <c:v>2.4278526109345784E-2</c:v>
                </c:pt>
                <c:pt idx="7">
                  <c:v>2.7375105810264758E-2</c:v>
                </c:pt>
                <c:pt idx="8">
                  <c:v>0.101702848797374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8">
                  <c:v>1.9978081451737427E-2</c:v>
                </c:pt>
                <c:pt idx="9">
                  <c:v>3.3012064371184549E-2</c:v>
                </c:pt>
                <c:pt idx="10">
                  <c:v>8.991189607720463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Tartar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2.9218514311593541E-5</c:v>
                </c:pt>
                <c:pt idx="6">
                  <c:v>4.6532038217505882E-4</c:v>
                </c:pt>
                <c:pt idx="7">
                  <c:v>5.8252159353114528E-2</c:v>
                </c:pt>
                <c:pt idx="8">
                  <c:v>3.4160794923873729E-2</c:v>
                </c:pt>
                <c:pt idx="9">
                  <c:v>1.790422746053888E-2</c:v>
                </c:pt>
                <c:pt idx="10">
                  <c:v>4.2028812408046188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4.3128392135463874E-6</c:v>
                </c:pt>
                <c:pt idx="2">
                  <c:v>8.3031868462600262E-4</c:v>
                </c:pt>
                <c:pt idx="3">
                  <c:v>9.3856706344528397E-3</c:v>
                </c:pt>
                <c:pt idx="4">
                  <c:v>1.3576895553058684E-3</c:v>
                </c:pt>
                <c:pt idx="5">
                  <c:v>9.2586555768935323E-3</c:v>
                </c:pt>
                <c:pt idx="6">
                  <c:v>9.517359877213856E-2</c:v>
                </c:pt>
                <c:pt idx="7">
                  <c:v>1.410644227054899E-2</c:v>
                </c:pt>
                <c:pt idx="8">
                  <c:v>0.10042706433271868</c:v>
                </c:pt>
                <c:pt idx="9">
                  <c:v>4.0867337609753016E-2</c:v>
                </c:pt>
                <c:pt idx="10">
                  <c:v>9.3674090630080939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0.1174</c:v>
                </c:pt>
                <c:pt idx="8">
                  <c:v>0.88260000000000005</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1440326896023377E-3</c:v>
                </c:pt>
                <c:pt idx="1">
                  <c:v>1.6414059402893172E-2</c:v>
                </c:pt>
                <c:pt idx="2">
                  <c:v>1.8161040186737358E-2</c:v>
                </c:pt>
                <c:pt idx="3">
                  <c:v>4.1076518711765486E-2</c:v>
                </c:pt>
                <c:pt idx="4">
                  <c:v>7.1941890867163433E-2</c:v>
                </c:pt>
                <c:pt idx="5">
                  <c:v>9.2447332939716881E-2</c:v>
                </c:pt>
                <c:pt idx="6">
                  <c:v>0.10831682527395142</c:v>
                </c:pt>
                <c:pt idx="7">
                  <c:v>0.18902377510261559</c:v>
                </c:pt>
                <c:pt idx="8">
                  <c:v>0.19576873044059107</c:v>
                </c:pt>
                <c:pt idx="9">
                  <c:v>4.9546663979823755E-2</c:v>
                </c:pt>
                <c:pt idx="10">
                  <c:v>0.2111591304051395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3.1334301198831354E-5</c:v>
                </c:pt>
                <c:pt idx="3">
                  <c:v>0.23922943724874743</c:v>
                </c:pt>
                <c:pt idx="4">
                  <c:v>0.24634596161734573</c:v>
                </c:pt>
                <c:pt idx="5">
                  <c:v>3.6273384136339092E-3</c:v>
                </c:pt>
                <c:pt idx="6">
                  <c:v>9.0066920487912733E-4</c:v>
                </c:pt>
                <c:pt idx="7">
                  <c:v>4.8577051613370996E-2</c:v>
                </c:pt>
                <c:pt idx="8">
                  <c:v>4.212907765016434E-2</c:v>
                </c:pt>
                <c:pt idx="9">
                  <c:v>6.201632242871619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3.9853428595946522E-6</c:v>
                </c:pt>
                <c:pt idx="7">
                  <c:v>2.9623711605380565E-3</c:v>
                </c:pt>
                <c:pt idx="8">
                  <c:v>0.160223415395686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8.809876440111869E-2</c:v>
                </c:pt>
                <c:pt idx="6">
                  <c:v>1.3890199562935858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8097551613754901E-2</c:v>
                </c:pt>
                <c:pt idx="1">
                  <c:v>1.1038120023828693E-3</c:v>
                </c:pt>
                <c:pt idx="2">
                  <c:v>1.4969532785093971E-3</c:v>
                </c:pt>
                <c:pt idx="3">
                  <c:v>1.5161304558475382E-3</c:v>
                </c:pt>
                <c:pt idx="4">
                  <c:v>4.3981000664016622E-3</c:v>
                </c:pt>
                <c:pt idx="5">
                  <c:v>3.28957146558863E-3</c:v>
                </c:pt>
                <c:pt idx="6">
                  <c:v>1.6726648514222134E-2</c:v>
                </c:pt>
                <c:pt idx="7">
                  <c:v>0.10707236018841385</c:v>
                </c:pt>
                <c:pt idx="8">
                  <c:v>4.3905315712462851E-3</c:v>
                </c:pt>
                <c:pt idx="9">
                  <c:v>3.438400255588447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7">
                  <c:v>1.2295290510459986E-3</c:v>
                </c:pt>
                <c:pt idx="8">
                  <c:v>9.2465227018631007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6.6405484166825383E-4</c:v>
                </c:pt>
                <c:pt idx="1">
                  <c:v>6.790208995048167E-3</c:v>
                </c:pt>
                <c:pt idx="2">
                  <c:v>1.4241990441861871E-4</c:v>
                </c:pt>
                <c:pt idx="3">
                  <c:v>1.3291292839119345E-2</c:v>
                </c:pt>
                <c:pt idx="4">
                  <c:v>5.2403168692109203E-2</c:v>
                </c:pt>
                <c:pt idx="5">
                  <c:v>2.0836488083426047E-3</c:v>
                </c:pt>
                <c:pt idx="6">
                  <c:v>3.6513051205990646E-2</c:v>
                </c:pt>
                <c:pt idx="7">
                  <c:v>8.9712340991130943E-2</c:v>
                </c:pt>
                <c:pt idx="8">
                  <c:v>0.14536600164662383</c:v>
                </c:pt>
                <c:pt idx="9">
                  <c:v>4.3141134383930919E-2</c:v>
                </c:pt>
                <c:pt idx="10">
                  <c:v>0.1750121406740338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6605486613245063E-5</c:v>
                </c:pt>
                <c:pt idx="1">
                  <c:v>2.5938176798877442E-3</c:v>
                </c:pt>
                <c:pt idx="3">
                  <c:v>2.5128979861358792E-3</c:v>
                </c:pt>
                <c:pt idx="4">
                  <c:v>9.7186763698980418E-3</c:v>
                </c:pt>
                <c:pt idx="5">
                  <c:v>4.3533327564330253E-2</c:v>
                </c:pt>
                <c:pt idx="6">
                  <c:v>1.3964839824646375E-2</c:v>
                </c:pt>
                <c:pt idx="7">
                  <c:v>1.4901842095617924E-2</c:v>
                </c:pt>
                <c:pt idx="8">
                  <c:v>1.5256675085942925E-2</c:v>
                </c:pt>
                <c:pt idx="9">
                  <c:v>2.6461277189915801E-3</c:v>
                </c:pt>
                <c:pt idx="10">
                  <c:v>2.446929473644236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3211287943793168E-6</c:v>
                </c:pt>
                <c:pt idx="5">
                  <c:v>2.3018579860218401E-2</c:v>
                </c:pt>
                <c:pt idx="6">
                  <c:v>1.1311895525152703E-2</c:v>
                </c:pt>
                <c:pt idx="7">
                  <c:v>3.585702971554603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5.4020512325264596E-3</c:v>
                </c:pt>
                <c:pt idx="1">
                  <c:v>7.030032727957259E-3</c:v>
                </c:pt>
                <c:pt idx="2">
                  <c:v>1.801862028231874E-2</c:v>
                </c:pt>
                <c:pt idx="3">
                  <c:v>2.5272327886510269E-2</c:v>
                </c:pt>
                <c:pt idx="4">
                  <c:v>9.8200458051561825E-3</c:v>
                </c:pt>
                <c:pt idx="5">
                  <c:v>2.3811776706825629E-2</c:v>
                </c:pt>
                <c:pt idx="6">
                  <c:v>4.652703871816171E-2</c:v>
                </c:pt>
                <c:pt idx="7">
                  <c:v>4.7323033249274678E-2</c:v>
                </c:pt>
                <c:pt idx="8">
                  <c:v>2.589953100616119E-2</c:v>
                </c:pt>
                <c:pt idx="9">
                  <c:v>3.7594018769012555E-3</c:v>
                </c:pt>
                <c:pt idx="10">
                  <c:v>1.167769499466331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0.25740000000000002</c:v>
                </c:pt>
                <c:pt idx="8">
                  <c:v>0.7426000000000000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3549127697873031E-2</c:v>
                </c:pt>
                <c:pt idx="1">
                  <c:v>1.8015538173938125E-2</c:v>
                </c:pt>
                <c:pt idx="2">
                  <c:v>4.8921228940550794E-2</c:v>
                </c:pt>
                <c:pt idx="3">
                  <c:v>4.0205132124715194E-2</c:v>
                </c:pt>
                <c:pt idx="4">
                  <c:v>3.5086445608214598E-2</c:v>
                </c:pt>
                <c:pt idx="5">
                  <c:v>0.12366001487517939</c:v>
                </c:pt>
                <c:pt idx="6">
                  <c:v>0.14971069932300879</c:v>
                </c:pt>
                <c:pt idx="7">
                  <c:v>0.1647679430192327</c:v>
                </c:pt>
                <c:pt idx="8">
                  <c:v>0.16299902679493175</c:v>
                </c:pt>
                <c:pt idx="9">
                  <c:v>0.19665703144981761</c:v>
                </c:pt>
                <c:pt idx="10">
                  <c:v>4.642781199253801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5.0086465517584642E-7</c:v>
                </c:pt>
                <c:pt idx="7">
                  <c:v>4.1558243033905503E-3</c:v>
                </c:pt>
                <c:pt idx="8">
                  <c:v>1.198829569456491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6340458942784401E-3</c:v>
                </c:pt>
                <c:pt idx="1">
                  <c:v>3.8566578448540174E-6</c:v>
                </c:pt>
                <c:pt idx="2">
                  <c:v>2.1473495231655787E-2</c:v>
                </c:pt>
                <c:pt idx="3">
                  <c:v>7.7027599671002046E-3</c:v>
                </c:pt>
                <c:pt idx="4">
                  <c:v>1.1532596509669556E-2</c:v>
                </c:pt>
                <c:pt idx="5">
                  <c:v>5.1033938664164412E-2</c:v>
                </c:pt>
                <c:pt idx="6">
                  <c:v>5.6864616809613855E-2</c:v>
                </c:pt>
                <c:pt idx="7">
                  <c:v>6.9391204270712645E-2</c:v>
                </c:pt>
                <c:pt idx="8">
                  <c:v>0.11028911986485068</c:v>
                </c:pt>
                <c:pt idx="9">
                  <c:v>0.17365204236203063</c:v>
                </c:pt>
                <c:pt idx="10">
                  <c:v>2.015579545358641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6.7867160776327196E-6</c:v>
                </c:pt>
                <c:pt idx="3">
                  <c:v>1.9408505388064049E-6</c:v>
                </c:pt>
                <c:pt idx="4">
                  <c:v>3.1405966905818689E-3</c:v>
                </c:pt>
                <c:pt idx="5">
                  <c:v>1.7672683795853877E-2</c:v>
                </c:pt>
                <c:pt idx="6">
                  <c:v>2.127501509042598E-2</c:v>
                </c:pt>
                <c:pt idx="7">
                  <c:v>3.281277050604384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6766958469579996E-3</c:v>
                </c:pt>
                <c:pt idx="1">
                  <c:v>3.4308227150235131E-3</c:v>
                </c:pt>
                <c:pt idx="2">
                  <c:v>1.3627087281451152E-2</c:v>
                </c:pt>
                <c:pt idx="3">
                  <c:v>7.9725131487615359E-4</c:v>
                </c:pt>
                <c:pt idx="4">
                  <c:v>1.680726480140829E-3</c:v>
                </c:pt>
                <c:pt idx="5">
                  <c:v>1.0681978065784416E-2</c:v>
                </c:pt>
                <c:pt idx="6">
                  <c:v>2.8043387000062883E-2</c:v>
                </c:pt>
                <c:pt idx="7">
                  <c:v>5.3127966136139971E-3</c:v>
                </c:pt>
                <c:pt idx="8">
                  <c:v>1.476432552426067E-2</c:v>
                </c:pt>
                <c:pt idx="9">
                  <c:v>2.6973690356003827E-3</c:v>
                </c:pt>
                <c:pt idx="10">
                  <c:v>1.025156002435905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9.2315992405589582E-3</c:v>
                </c:pt>
                <c:pt idx="1">
                  <c:v>1.4580858801069756E-2</c:v>
                </c:pt>
                <c:pt idx="2">
                  <c:v>1.3820646427443857E-2</c:v>
                </c:pt>
                <c:pt idx="3">
                  <c:v>3.1703179992200035E-2</c:v>
                </c:pt>
                <c:pt idx="4">
                  <c:v>1.8732025063167172E-2</c:v>
                </c:pt>
                <c:pt idx="5">
                  <c:v>4.4271414349376689E-2</c:v>
                </c:pt>
                <c:pt idx="6">
                  <c:v>4.352768042290607E-2</c:v>
                </c:pt>
                <c:pt idx="7">
                  <c:v>5.3095347325471644E-2</c:v>
                </c:pt>
                <c:pt idx="8">
                  <c:v>2.5957285711255482E-2</c:v>
                </c:pt>
                <c:pt idx="9">
                  <c:v>2.030762005218659E-2</c:v>
                </c:pt>
                <c:pt idx="10">
                  <c:v>1.602045651459255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2.6499999999999999E-2</c:v>
                </c:pt>
                <c:pt idx="7">
                  <c:v>0.1363</c:v>
                </c:pt>
                <c:pt idx="8">
                  <c:v>0.83720000000000006</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6872184253652326E-3</c:v>
                </c:pt>
                <c:pt idx="1">
                  <c:v>6.4377750810823645E-3</c:v>
                </c:pt>
                <c:pt idx="2">
                  <c:v>2.3401097734032036E-2</c:v>
                </c:pt>
                <c:pt idx="3">
                  <c:v>9.0467878237250693E-2</c:v>
                </c:pt>
                <c:pt idx="4">
                  <c:v>2.6029595140876296E-2</c:v>
                </c:pt>
                <c:pt idx="5">
                  <c:v>0.11858627354648475</c:v>
                </c:pt>
                <c:pt idx="6">
                  <c:v>0.12647657415686708</c:v>
                </c:pt>
                <c:pt idx="7">
                  <c:v>0.19717935221122623</c:v>
                </c:pt>
                <c:pt idx="8">
                  <c:v>0.14705443469514709</c:v>
                </c:pt>
                <c:pt idx="9">
                  <c:v>0.12556180470126249</c:v>
                </c:pt>
                <c:pt idx="10">
                  <c:v>0.1341179960704057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6">
                  <c:v>3.6410196472055873E-4</c:v>
                </c:pt>
                <c:pt idx="7">
                  <c:v>1.8740610394460178E-3</c:v>
                </c:pt>
                <c:pt idx="8">
                  <c:v>1.151269219913366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1.6440241072721144E-3</c:v>
                </c:pt>
                <c:pt idx="3">
                  <c:v>8.3105556641202921E-2</c:v>
                </c:pt>
                <c:pt idx="4">
                  <c:v>2.773710780301409E-3</c:v>
                </c:pt>
                <c:pt idx="5">
                  <c:v>2.1370621553664488E-7</c:v>
                </c:pt>
                <c:pt idx="6">
                  <c:v>3.3712422633675153E-2</c:v>
                </c:pt>
                <c:pt idx="7">
                  <c:v>8.9253011828478751E-2</c:v>
                </c:pt>
                <c:pt idx="8">
                  <c:v>9.453996113004498E-2</c:v>
                </c:pt>
                <c:pt idx="9">
                  <c:v>0.11749617594988361</c:v>
                </c:pt>
                <c:pt idx="10">
                  <c:v>9.161740397062230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4900335880278075E-4</c:v>
                </c:pt>
                <c:pt idx="1">
                  <c:v>2.5669678256209994E-3</c:v>
                </c:pt>
                <c:pt idx="2">
                  <c:v>6.9857000088670274E-4</c:v>
                </c:pt>
                <c:pt idx="3">
                  <c:v>5.2194003286053624E-3</c:v>
                </c:pt>
                <c:pt idx="4">
                  <c:v>1.6969502324348941E-2</c:v>
                </c:pt>
                <c:pt idx="5">
                  <c:v>7.1178826458318301E-2</c:v>
                </c:pt>
                <c:pt idx="6">
                  <c:v>1.5141958004484733E-2</c:v>
                </c:pt>
                <c:pt idx="7">
                  <c:v>3.2898255379034416E-2</c:v>
                </c:pt>
                <c:pt idx="8">
                  <c:v>2.4180270595878645E-2</c:v>
                </c:pt>
                <c:pt idx="9">
                  <c:v>5.3061294344106504E-3</c:v>
                </c:pt>
                <c:pt idx="10">
                  <c:v>3.221516126992282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6195013190392843E-3</c:v>
                </c:pt>
                <c:pt idx="5">
                  <c:v>3.440762676166715E-2</c:v>
                </c:pt>
                <c:pt idx="6">
                  <c:v>1.8093632635774282E-2</c:v>
                </c:pt>
                <c:pt idx="7">
                  <c:v>3.96991173203135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4382150665624514E-3</c:v>
                </c:pt>
                <c:pt idx="1">
                  <c:v>3.8708072554613647E-3</c:v>
                </c:pt>
                <c:pt idx="2">
                  <c:v>2.1058503625873217E-2</c:v>
                </c:pt>
                <c:pt idx="3">
                  <c:v>2.1429212674424119E-3</c:v>
                </c:pt>
                <c:pt idx="4">
                  <c:v>4.6668807171866616E-3</c:v>
                </c:pt>
                <c:pt idx="5">
                  <c:v>1.2999606620283752E-2</c:v>
                </c:pt>
                <c:pt idx="6">
                  <c:v>5.916445891821237E-2</c:v>
                </c:pt>
                <c:pt idx="7">
                  <c:v>3.3454906643953494E-2</c:v>
                </c:pt>
                <c:pt idx="8">
                  <c:v>1.6821510770089813E-2</c:v>
                </c:pt>
                <c:pt idx="9">
                  <c:v>2.759499316968222E-3</c:v>
                </c:pt>
                <c:pt idx="10">
                  <c:v>1.028543082986059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4366118400716372E-2</c:v>
                </c:pt>
                <c:pt idx="1">
                  <c:v>1.7979971027474409E-2</c:v>
                </c:pt>
                <c:pt idx="2">
                  <c:v>1.1086532584295801E-2</c:v>
                </c:pt>
                <c:pt idx="3">
                  <c:v>1.3960396047619254E-2</c:v>
                </c:pt>
                <c:pt idx="4">
                  <c:v>2.7231768358389325E-2</c:v>
                </c:pt>
                <c:pt idx="5">
                  <c:v>0.14762693303421914</c:v>
                </c:pt>
                <c:pt idx="6">
                  <c:v>0.13467382647792436</c:v>
                </c:pt>
                <c:pt idx="7">
                  <c:v>0.15483900827319605</c:v>
                </c:pt>
                <c:pt idx="8">
                  <c:v>0.26165380079754724</c:v>
                </c:pt>
                <c:pt idx="9">
                  <c:v>0.18614307658344179</c:v>
                </c:pt>
                <c:pt idx="10">
                  <c:v>2.043856841517618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9713088181788768E-4</c:v>
                </c:pt>
                <c:pt idx="2">
                  <c:v>4.3850338175157249E-8</c:v>
                </c:pt>
                <c:pt idx="4">
                  <c:v>5.4322203703737184E-3</c:v>
                </c:pt>
                <c:pt idx="5">
                  <c:v>2.4861961159286367E-2</c:v>
                </c:pt>
                <c:pt idx="6">
                  <c:v>4.6146567879905231E-2</c:v>
                </c:pt>
                <c:pt idx="7">
                  <c:v>2.2198154308233661E-3</c:v>
                </c:pt>
                <c:pt idx="8">
                  <c:v>0.15182980242764646</c:v>
                </c:pt>
                <c:pt idx="9">
                  <c:v>0.11946298069449059</c:v>
                </c:pt>
                <c:pt idx="10">
                  <c:v>1.342615725832250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3.1681801869492382E-3</c:v>
                </c:pt>
                <c:pt idx="3">
                  <c:v>1.3360557152412469E-3</c:v>
                </c:pt>
                <c:pt idx="4">
                  <c:v>3.9821065524359512E-3</c:v>
                </c:pt>
                <c:pt idx="5">
                  <c:v>9.1831688531884476E-2</c:v>
                </c:pt>
                <c:pt idx="6">
                  <c:v>4.2687066284737868E-2</c:v>
                </c:pt>
                <c:pt idx="7">
                  <c:v>1.0755297249029471E-2</c:v>
                </c:pt>
                <c:pt idx="8">
                  <c:v>4.9829061937105013E-3</c:v>
                </c:pt>
                <c:pt idx="10">
                  <c:v>3.279330674914452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5.4336809239452447E-3</c:v>
                </c:pt>
                <c:pt idx="6">
                  <c:v>1.2468830167694218E-2</c:v>
                </c:pt>
                <c:pt idx="7">
                  <c:v>7.1521800620634748E-2</c:v>
                </c:pt>
                <c:pt idx="8">
                  <c:v>3.961723566010963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4168987518898486E-2</c:v>
                </c:pt>
                <c:pt idx="1">
                  <c:v>1.7979971027474409E-2</c:v>
                </c:pt>
                <c:pt idx="2">
                  <c:v>7.9183085470083854E-3</c:v>
                </c:pt>
                <c:pt idx="3">
                  <c:v>7.1906594084327619E-3</c:v>
                </c:pt>
                <c:pt idx="4">
                  <c:v>1.7817441435579659E-2</c:v>
                </c:pt>
                <c:pt idx="5">
                  <c:v>3.0933283343048318E-2</c:v>
                </c:pt>
                <c:pt idx="6">
                  <c:v>3.3371362145587058E-2</c:v>
                </c:pt>
                <c:pt idx="7">
                  <c:v>7.0342094972708491E-2</c:v>
                </c:pt>
                <c:pt idx="8">
                  <c:v>6.5223856516080647E-2</c:v>
                </c:pt>
                <c:pt idx="9">
                  <c:v>6.6680095888951185E-2</c:v>
                </c:pt>
                <c:pt idx="10">
                  <c:v>6.979617850104540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365898334756715E-2</c:v>
                </c:pt>
                <c:pt idx="1">
                  <c:v>2.0705941386764733E-2</c:v>
                </c:pt>
                <c:pt idx="2">
                  <c:v>1.6278733415296599E-2</c:v>
                </c:pt>
                <c:pt idx="3">
                  <c:v>1.7548824161276975E-2</c:v>
                </c:pt>
                <c:pt idx="4">
                  <c:v>5.7701549538145838E-2</c:v>
                </c:pt>
                <c:pt idx="5">
                  <c:v>0.14579996000114004</c:v>
                </c:pt>
                <c:pt idx="6">
                  <c:v>0.1286472547711171</c:v>
                </c:pt>
                <c:pt idx="7">
                  <c:v>0.1797236450590925</c:v>
                </c:pt>
                <c:pt idx="8">
                  <c:v>0.24907140238754868</c:v>
                </c:pt>
                <c:pt idx="9">
                  <c:v>0.15553268833943143</c:v>
                </c:pt>
                <c:pt idx="10">
                  <c:v>5.6241026054294277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3.8225773745351076E-5</c:v>
                </c:pt>
                <c:pt idx="2">
                  <c:v>4.0164702922471991E-4</c:v>
                </c:pt>
                <c:pt idx="3">
                  <c:v>4.9040371330939954E-4</c:v>
                </c:pt>
                <c:pt idx="4">
                  <c:v>2.0178929380227327E-2</c:v>
                </c:pt>
                <c:pt idx="5">
                  <c:v>2.1434278531619246E-2</c:v>
                </c:pt>
                <c:pt idx="6">
                  <c:v>2.8178332837032982E-2</c:v>
                </c:pt>
                <c:pt idx="7">
                  <c:v>2.3025306076452531E-2</c:v>
                </c:pt>
                <c:pt idx="8">
                  <c:v>0.10714444829909844</c:v>
                </c:pt>
                <c:pt idx="9">
                  <c:v>0.10232818507711655</c:v>
                </c:pt>
                <c:pt idx="10">
                  <c:v>5.571995163446611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6.756564186376998E-7</c:v>
                </c:pt>
                <c:pt idx="2">
                  <c:v>1.0056265390634238E-2</c:v>
                </c:pt>
                <c:pt idx="3">
                  <c:v>3.0062615741991957E-4</c:v>
                </c:pt>
                <c:pt idx="4">
                  <c:v>2.146562489455665E-2</c:v>
                </c:pt>
                <c:pt idx="5">
                  <c:v>8.4526174028782805E-2</c:v>
                </c:pt>
                <c:pt idx="6">
                  <c:v>2.9315094049735521E-2</c:v>
                </c:pt>
                <c:pt idx="7">
                  <c:v>1.9579949727886542E-2</c:v>
                </c:pt>
                <c:pt idx="8">
                  <c:v>5.2420905612190578E-3</c:v>
                </c:pt>
                <c:pt idx="10">
                  <c:v>3.1428260685117249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1.1561914533476032E-3</c:v>
                </c:pt>
                <c:pt idx="3">
                  <c:v>7.8647021362536103E-3</c:v>
                </c:pt>
                <c:pt idx="5">
                  <c:v>4.1943931491551263E-4</c:v>
                </c:pt>
                <c:pt idx="6">
                  <c:v>3.0147891771798805E-2</c:v>
                </c:pt>
                <c:pt idx="7">
                  <c:v>4.640047933113782E-2</c:v>
                </c:pt>
                <c:pt idx="8">
                  <c:v>5.2855946448045546E-2</c:v>
                </c:pt>
                <c:pt idx="9">
                  <c:v>3.1018771946548947E-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332699690459273E-2</c:v>
                </c:pt>
                <c:pt idx="1">
                  <c:v>2.0705941386764733E-2</c:v>
                </c:pt>
                <c:pt idx="2">
                  <c:v>4.6646295420900369E-3</c:v>
                </c:pt>
                <c:pt idx="3">
                  <c:v>8.8930921542940463E-3</c:v>
                </c:pt>
                <c:pt idx="4">
                  <c:v>1.6056995263361861E-2</c:v>
                </c:pt>
                <c:pt idx="5">
                  <c:v>3.9420068125822459E-2</c:v>
                </c:pt>
                <c:pt idx="6">
                  <c:v>4.1005936112549782E-2</c:v>
                </c:pt>
                <c:pt idx="7">
                  <c:v>9.0717909923615614E-2</c:v>
                </c:pt>
                <c:pt idx="8">
                  <c:v>8.3828917079185619E-2</c:v>
                </c:pt>
                <c:pt idx="9">
                  <c:v>5.3173484490368329E-2</c:v>
                </c:pt>
                <c:pt idx="10">
                  <c:v>2.0679181297699296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352154506864178E-2</c:v>
                </c:pt>
                <c:pt idx="1">
                  <c:v>1.8944882812584778E-3</c:v>
                </c:pt>
                <c:pt idx="2">
                  <c:v>4.1063764779702226E-3</c:v>
                </c:pt>
                <c:pt idx="3">
                  <c:v>1.662843254070168E-2</c:v>
                </c:pt>
                <c:pt idx="4">
                  <c:v>7.2937955575104685E-2</c:v>
                </c:pt>
                <c:pt idx="5">
                  <c:v>0.15797971891225537</c:v>
                </c:pt>
                <c:pt idx="6">
                  <c:v>9.598337906718378E-2</c:v>
                </c:pt>
                <c:pt idx="7">
                  <c:v>0.21068997706434744</c:v>
                </c:pt>
                <c:pt idx="8">
                  <c:v>0.19968366113881508</c:v>
                </c:pt>
                <c:pt idx="9">
                  <c:v>0.15604544109593402</c:v>
                </c:pt>
                <c:pt idx="10">
                  <c:v>4.269841533956509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aprice Des Dieux</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099638059920146E-5</c:v>
                </c:pt>
                <c:pt idx="1">
                  <c:v>4.9652516784552209E-5</c:v>
                </c:pt>
                <c:pt idx="2">
                  <c:v>2.1346000392107782E-3</c:v>
                </c:pt>
                <c:pt idx="3">
                  <c:v>5.4010073745683141E-3</c:v>
                </c:pt>
                <c:pt idx="4">
                  <c:v>2.3980718714754611E-2</c:v>
                </c:pt>
                <c:pt idx="5">
                  <c:v>8.6490681170313916E-2</c:v>
                </c:pt>
                <c:pt idx="6">
                  <c:v>2.5858857114332695E-3</c:v>
                </c:pt>
                <c:pt idx="7">
                  <c:v>5.5749069346889751E-2</c:v>
                </c:pt>
                <c:pt idx="8">
                  <c:v>2.9218058468430861E-3</c:v>
                </c:pt>
                <c:pt idx="9">
                  <c:v>1.099638059920146E-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3.1349330655618196E-7</c:v>
                </c:pt>
                <c:pt idx="4">
                  <c:v>2.4970899380947178E-2</c:v>
                </c:pt>
                <c:pt idx="5">
                  <c:v>6.5450167948010269E-3</c:v>
                </c:pt>
                <c:pt idx="6">
                  <c:v>4.6032296080441418E-2</c:v>
                </c:pt>
                <c:pt idx="7">
                  <c:v>9.341690582588727E-3</c:v>
                </c:pt>
                <c:pt idx="8">
                  <c:v>7.5749001825254486E-2</c:v>
                </c:pt>
                <c:pt idx="9">
                  <c:v>7.3772522986896696E-2</c:v>
                </c:pt>
                <c:pt idx="10">
                  <c:v>4.269841533956509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0309372075318455E-2</c:v>
                </c:pt>
                <c:pt idx="1">
                  <c:v>1.5883500099714985E-3</c:v>
                </c:pt>
                <c:pt idx="3">
                  <c:v>2.5332670656713012E-4</c:v>
                </c:pt>
                <c:pt idx="4">
                  <c:v>4.6541698588725477E-4</c:v>
                </c:pt>
                <c:pt idx="5">
                  <c:v>1.2628571442351353E-2</c:v>
                </c:pt>
                <c:pt idx="6">
                  <c:v>1.7162625135073415E-2</c:v>
                </c:pt>
                <c:pt idx="7">
                  <c:v>5.8732633375124403E-2</c:v>
                </c:pt>
                <c:pt idx="8">
                  <c:v>7.4166487613758882E-3</c:v>
                </c:pt>
                <c:pt idx="9">
                  <c:v>7.049000691855612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103178605094652E-2</c:v>
                </c:pt>
                <c:pt idx="1">
                  <c:v>2.5648575450242704E-4</c:v>
                </c:pt>
                <c:pt idx="2">
                  <c:v>1.9714629454528881E-3</c:v>
                </c:pt>
                <c:pt idx="3">
                  <c:v>1.0974098459566237E-2</c:v>
                </c:pt>
                <c:pt idx="4">
                  <c:v>2.3520920493515632E-2</c:v>
                </c:pt>
                <c:pt idx="5">
                  <c:v>5.2315449504789092E-2</c:v>
                </c:pt>
                <c:pt idx="6">
                  <c:v>3.0202572140235685E-2</c:v>
                </c:pt>
                <c:pt idx="7">
                  <c:v>8.6866583759744515E-2</c:v>
                </c:pt>
                <c:pt idx="8">
                  <c:v>0.11359620470534162</c:v>
                </c:pt>
                <c:pt idx="9">
                  <c:v>1.177191480988198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61116322273985E-2</c:v>
                </c:pt>
                <c:pt idx="1">
                  <c:v>2.3450659593645454E-2</c:v>
                </c:pt>
                <c:pt idx="2">
                  <c:v>4.2418163511807661E-2</c:v>
                </c:pt>
                <c:pt idx="3">
                  <c:v>2.0666175437598685E-2</c:v>
                </c:pt>
                <c:pt idx="4">
                  <c:v>5.0223009271810573E-2</c:v>
                </c:pt>
                <c:pt idx="5">
                  <c:v>7.2486072766880225E-2</c:v>
                </c:pt>
                <c:pt idx="6">
                  <c:v>0.14481255446315666</c:v>
                </c:pt>
                <c:pt idx="7">
                  <c:v>0.16464962829241298</c:v>
                </c:pt>
                <c:pt idx="8">
                  <c:v>0.37080110599668015</c:v>
                </c:pt>
                <c:pt idx="9">
                  <c:v>7.1442598795916912E-2</c:v>
                </c:pt>
                <c:pt idx="10">
                  <c:v>2.938399642692222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4026953427596778E-4</c:v>
                </c:pt>
                <c:pt idx="1">
                  <c:v>1.1616987661786514E-3</c:v>
                </c:pt>
                <c:pt idx="2">
                  <c:v>1.8942375567857307E-2</c:v>
                </c:pt>
                <c:pt idx="3">
                  <c:v>2.6785878801813978E-4</c:v>
                </c:pt>
                <c:pt idx="4">
                  <c:v>9.5626644052705895E-4</c:v>
                </c:pt>
                <c:pt idx="5">
                  <c:v>4.4772201259660138E-2</c:v>
                </c:pt>
                <c:pt idx="6">
                  <c:v>1.6746882082728166E-2</c:v>
                </c:pt>
                <c:pt idx="7">
                  <c:v>9.1466664264135092E-2</c:v>
                </c:pt>
                <c:pt idx="8">
                  <c:v>0.18740549520159638</c:v>
                </c:pt>
                <c:pt idx="9">
                  <c:v>6.9317613526885161E-2</c:v>
                </c:pt>
                <c:pt idx="10">
                  <c:v>2.5421506123166266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6526153264520981E-4</c:v>
                </c:pt>
                <c:pt idx="4">
                  <c:v>3.5545329008789726E-2</c:v>
                </c:pt>
                <c:pt idx="5">
                  <c:v>3.333909458024299E-6</c:v>
                </c:pt>
                <c:pt idx="6">
                  <c:v>8.0993148012353439E-2</c:v>
                </c:pt>
                <c:pt idx="7">
                  <c:v>1.8433696394419587E-2</c:v>
                </c:pt>
                <c:pt idx="8">
                  <c:v>0.1061451184704229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2.3927200276801803E-3</c:v>
                </c:pt>
                <c:pt idx="6">
                  <c:v>2.0531881397242643E-2</c:v>
                </c:pt>
                <c:pt idx="7">
                  <c:v>5.2946351909761071E-3</c:v>
                </c:pt>
                <c:pt idx="8">
                  <c:v>5.191896702863761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5306101160477325E-2</c:v>
                </c:pt>
                <c:pt idx="1">
                  <c:v>2.2288960827466803E-2</c:v>
                </c:pt>
                <c:pt idx="2">
                  <c:v>2.3475787943950353E-2</c:v>
                </c:pt>
                <c:pt idx="3">
                  <c:v>1.8005596621900367E-2</c:v>
                </c:pt>
                <c:pt idx="4">
                  <c:v>1.372141382249379E-2</c:v>
                </c:pt>
                <c:pt idx="5">
                  <c:v>2.7710537597762059E-2</c:v>
                </c:pt>
                <c:pt idx="6">
                  <c:v>2.6540642970832432E-2</c:v>
                </c:pt>
                <c:pt idx="7">
                  <c:v>4.9454632442882174E-2</c:v>
                </c:pt>
                <c:pt idx="8">
                  <c:v>2.533152529602313E-2</c:v>
                </c:pt>
                <c:pt idx="9">
                  <c:v>2.1249852690317585E-3</c:v>
                </c:pt>
                <c:pt idx="10">
                  <c:v>3.9624903037559635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346815577936997E-2</c:v>
                </c:pt>
                <c:pt idx="1">
                  <c:v>4.444336608054893E-3</c:v>
                </c:pt>
                <c:pt idx="2">
                  <c:v>3.6017149221030359E-2</c:v>
                </c:pt>
                <c:pt idx="3">
                  <c:v>0.14561464720112</c:v>
                </c:pt>
                <c:pt idx="4">
                  <c:v>0.31870308409378206</c:v>
                </c:pt>
                <c:pt idx="5">
                  <c:v>8.3049979740238325E-2</c:v>
                </c:pt>
                <c:pt idx="6">
                  <c:v>7.8023811892358796E-2</c:v>
                </c:pt>
                <c:pt idx="7">
                  <c:v>0.11515289447697061</c:v>
                </c:pt>
                <c:pt idx="8">
                  <c:v>0.1802110412061716</c:v>
                </c:pt>
                <c:pt idx="9">
                  <c:v>1.543623998233640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7058601382366944E-2</c:v>
                </c:pt>
                <c:pt idx="1">
                  <c:v>4.4075340366481537E-2</c:v>
                </c:pt>
                <c:pt idx="2">
                  <c:v>3.9148147102293938E-2</c:v>
                </c:pt>
                <c:pt idx="3">
                  <c:v>2.4302963422487257E-2</c:v>
                </c:pt>
                <c:pt idx="4">
                  <c:v>6.8264835910008606E-2</c:v>
                </c:pt>
                <c:pt idx="5">
                  <c:v>8.1085129025960004E-2</c:v>
                </c:pt>
                <c:pt idx="6">
                  <c:v>0.17391019501158081</c:v>
                </c:pt>
                <c:pt idx="7">
                  <c:v>0.21549263910120092</c:v>
                </c:pt>
                <c:pt idx="8">
                  <c:v>0.18617788954780065</c:v>
                </c:pt>
                <c:pt idx="9">
                  <c:v>9.8373163005540581E-2</c:v>
                </c:pt>
                <c:pt idx="10">
                  <c:v>1.211109612427878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5.8471293157413735E-3</c:v>
                </c:pt>
                <c:pt idx="1">
                  <c:v>1.092006253138679E-2</c:v>
                </c:pt>
                <c:pt idx="2">
                  <c:v>9.7703092868681816E-3</c:v>
                </c:pt>
                <c:pt idx="3">
                  <c:v>5.6818865986670236E-4</c:v>
                </c:pt>
                <c:pt idx="4">
                  <c:v>1.2979075352347186E-2</c:v>
                </c:pt>
                <c:pt idx="5">
                  <c:v>5.1461671621167847E-2</c:v>
                </c:pt>
                <c:pt idx="6">
                  <c:v>2.6026577204275821E-2</c:v>
                </c:pt>
                <c:pt idx="7">
                  <c:v>0.11304358006717868</c:v>
                </c:pt>
                <c:pt idx="8">
                  <c:v>6.842125233657842E-2</c:v>
                </c:pt>
                <c:pt idx="9">
                  <c:v>9.1647256663037982E-2</c:v>
                </c:pt>
                <c:pt idx="10">
                  <c:v>1.081169024282095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5.8932929382426877E-5</c:v>
                </c:pt>
                <c:pt idx="2">
                  <c:v>2.8693026863497596E-5</c:v>
                </c:pt>
                <c:pt idx="4">
                  <c:v>3.7624171272741688E-2</c:v>
                </c:pt>
                <c:pt idx="5">
                  <c:v>1.3659670309841923E-2</c:v>
                </c:pt>
                <c:pt idx="6">
                  <c:v>8.0220122225621637E-2</c:v>
                </c:pt>
                <c:pt idx="7">
                  <c:v>5.0437609606376867E-2</c:v>
                </c:pt>
                <c:pt idx="8">
                  <c:v>7.865077137684338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6.761514813472729E-3</c:v>
                </c:pt>
                <c:pt idx="4">
                  <c:v>7.3097457442948424E-6</c:v>
                </c:pt>
                <c:pt idx="5">
                  <c:v>1.7895228170680318E-5</c:v>
                </c:pt>
                <c:pt idx="6">
                  <c:v>2.2748960006682504E-2</c:v>
                </c:pt>
                <c:pt idx="7">
                  <c:v>3.1314526136026239E-3</c:v>
                </c:pt>
                <c:pt idx="8">
                  <c:v>2.661020428980163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5.1152539137243144E-2</c:v>
                </c:pt>
                <c:pt idx="1">
                  <c:v>3.3155277835094747E-2</c:v>
                </c:pt>
                <c:pt idx="2">
                  <c:v>2.9349144788562265E-2</c:v>
                </c:pt>
                <c:pt idx="3">
                  <c:v>1.6973259949147827E-2</c:v>
                </c:pt>
                <c:pt idx="4">
                  <c:v>1.7654279539175428E-2</c:v>
                </c:pt>
                <c:pt idx="5">
                  <c:v>1.5945891866779548E-2</c:v>
                </c:pt>
                <c:pt idx="6">
                  <c:v>4.491453557500083E-2</c:v>
                </c:pt>
                <c:pt idx="7">
                  <c:v>4.8879996814042766E-2</c:v>
                </c:pt>
                <c:pt idx="8">
                  <c:v>1.249566154457718E-2</c:v>
                </c:pt>
                <c:pt idx="9">
                  <c:v>6.72590634250259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4165525822856861E-2</c:v>
                </c:pt>
                <c:pt idx="1">
                  <c:v>9.4537188852260035E-3</c:v>
                </c:pt>
                <c:pt idx="2">
                  <c:v>2.0219498100420973E-2</c:v>
                </c:pt>
                <c:pt idx="3">
                  <c:v>8.240412408021246E-3</c:v>
                </c:pt>
                <c:pt idx="4">
                  <c:v>5.5533695297342311E-2</c:v>
                </c:pt>
                <c:pt idx="5">
                  <c:v>9.3213785174338426E-2</c:v>
                </c:pt>
                <c:pt idx="6">
                  <c:v>0.21615012501036701</c:v>
                </c:pt>
                <c:pt idx="7">
                  <c:v>0.151632184131818</c:v>
                </c:pt>
                <c:pt idx="8">
                  <c:v>0.34844429515359976</c:v>
                </c:pt>
                <c:pt idx="9">
                  <c:v>8.294676001600942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3">
                  <c:v>3.1517237159222177E-3</c:v>
                </c:pt>
                <c:pt idx="4">
                  <c:v>4.2664254916507265E-2</c:v>
                </c:pt>
                <c:pt idx="5">
                  <c:v>2.363851662450068E-3</c:v>
                </c:pt>
                <c:pt idx="6">
                  <c:v>0.13061912267877912</c:v>
                </c:pt>
                <c:pt idx="7">
                  <c:v>1.8629309868748042E-2</c:v>
                </c:pt>
                <c:pt idx="8">
                  <c:v>0.1268464193505426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1">
                  <c:v>2.5154757217617264E-3</c:v>
                </c:pt>
                <c:pt idx="2">
                  <c:v>1.7887792465559889E-2</c:v>
                </c:pt>
                <c:pt idx="4">
                  <c:v>8.1499796271115744E-3</c:v>
                </c:pt>
                <c:pt idx="5">
                  <c:v>8.1816742758027902E-2</c:v>
                </c:pt>
                <c:pt idx="6">
                  <c:v>2.9206648206708926E-2</c:v>
                </c:pt>
                <c:pt idx="7">
                  <c:v>7.7167343859306056E-2</c:v>
                </c:pt>
                <c:pt idx="8">
                  <c:v>0.1235200316263531</c:v>
                </c:pt>
                <c:pt idx="9">
                  <c:v>8.294676001600942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6">
                  <c:v>2.2506262097199775E-2</c:v>
                </c:pt>
                <c:pt idx="7">
                  <c:v>4.2216487049919794E-3</c:v>
                </c:pt>
                <c:pt idx="8">
                  <c:v>6.9450609473375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4165525822856861E-2</c:v>
                </c:pt>
                <c:pt idx="1">
                  <c:v>6.938243163464277E-3</c:v>
                </c:pt>
                <c:pt idx="2">
                  <c:v>2.3317056348610837E-3</c:v>
                </c:pt>
                <c:pt idx="3">
                  <c:v>5.0886886920990283E-3</c:v>
                </c:pt>
                <c:pt idx="4">
                  <c:v>4.7194607537234734E-3</c:v>
                </c:pt>
                <c:pt idx="5">
                  <c:v>9.0331907538604584E-3</c:v>
                </c:pt>
                <c:pt idx="6">
                  <c:v>3.3818092027679179E-2</c:v>
                </c:pt>
                <c:pt idx="7">
                  <c:v>5.1613881698771936E-2</c:v>
                </c:pt>
                <c:pt idx="8">
                  <c:v>2.862723470332847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2137763780528942E-2</c:v>
                </c:pt>
                <c:pt idx="1">
                  <c:v>7.6010757588336045E-2</c:v>
                </c:pt>
                <c:pt idx="2">
                  <c:v>1.9801583306298543E-2</c:v>
                </c:pt>
                <c:pt idx="3">
                  <c:v>3.8623977412852312E-2</c:v>
                </c:pt>
                <c:pt idx="4">
                  <c:v>7.0418162902305612E-2</c:v>
                </c:pt>
                <c:pt idx="5">
                  <c:v>0.21572543411195483</c:v>
                </c:pt>
                <c:pt idx="6">
                  <c:v>0.35475670948466687</c:v>
                </c:pt>
                <c:pt idx="7">
                  <c:v>0.11896334298735282</c:v>
                </c:pt>
                <c:pt idx="8">
                  <c:v>3.931459111135447E-2</c:v>
                </c:pt>
                <c:pt idx="9">
                  <c:v>2.424767731434951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7.5069372932280362E-5</c:v>
                </c:pt>
                <c:pt idx="1">
                  <c:v>2.3305851073747173E-6</c:v>
                </c:pt>
                <c:pt idx="2">
                  <c:v>1.2417848101588783E-3</c:v>
                </c:pt>
                <c:pt idx="3">
                  <c:v>2.0887685031284794E-3</c:v>
                </c:pt>
                <c:pt idx="4">
                  <c:v>3.1903502197226574E-3</c:v>
                </c:pt>
                <c:pt idx="5">
                  <c:v>7.476247167235133E-3</c:v>
                </c:pt>
                <c:pt idx="6">
                  <c:v>0.20295954379017314</c:v>
                </c:pt>
                <c:pt idx="7">
                  <c:v>0.10730673757925707</c:v>
                </c:pt>
                <c:pt idx="9">
                  <c:v>1.206624867254778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1">
                  <c:v>5.7857511264821783E-2</c:v>
                </c:pt>
                <c:pt idx="4">
                  <c:v>2.3203550653770827E-3</c:v>
                </c:pt>
                <c:pt idx="5">
                  <c:v>0.1228202650802594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9.3137540633138035E-4</c:v>
                </c:pt>
                <c:pt idx="2">
                  <c:v>5.9809682948183292E-3</c:v>
                </c:pt>
                <c:pt idx="3">
                  <c:v>2.2406981196544965E-3</c:v>
                </c:pt>
                <c:pt idx="4">
                  <c:v>5.6405139690855491E-2</c:v>
                </c:pt>
                <c:pt idx="5">
                  <c:v>1.3637038502443532E-2</c:v>
                </c:pt>
                <c:pt idx="6">
                  <c:v>8.6067281391607575E-2</c:v>
                </c:pt>
                <c:pt idx="8">
                  <c:v>1.706331753245695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1131319001265286E-2</c:v>
                </c:pt>
                <c:pt idx="1">
                  <c:v>1.8150915738406884E-2</c:v>
                </c:pt>
                <c:pt idx="2">
                  <c:v>1.2578830201321339E-2</c:v>
                </c:pt>
                <c:pt idx="3">
                  <c:v>3.4294510790069337E-2</c:v>
                </c:pt>
                <c:pt idx="4">
                  <c:v>8.5023179263503702E-3</c:v>
                </c:pt>
                <c:pt idx="5">
                  <c:v>7.1791883362016695E-2</c:v>
                </c:pt>
                <c:pt idx="6">
                  <c:v>6.5729884302886177E-2</c:v>
                </c:pt>
                <c:pt idx="7">
                  <c:v>1.1656605408095756E-2</c:v>
                </c:pt>
                <c:pt idx="8">
                  <c:v>2.2251273578897519E-2</c:v>
                </c:pt>
                <c:pt idx="9">
                  <c:v>1.218142864180172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4077995271416671E-2</c:v>
                </c:pt>
                <c:pt idx="1">
                  <c:v>2.062966834660215E-2</c:v>
                </c:pt>
                <c:pt idx="2">
                  <c:v>8.0083321202325142E-2</c:v>
                </c:pt>
                <c:pt idx="3">
                  <c:v>2.8380127651671069E-2</c:v>
                </c:pt>
                <c:pt idx="4">
                  <c:v>0.14083598542271128</c:v>
                </c:pt>
                <c:pt idx="5">
                  <c:v>0.28115211531318079</c:v>
                </c:pt>
                <c:pt idx="6">
                  <c:v>0.22040258842250043</c:v>
                </c:pt>
                <c:pt idx="7">
                  <c:v>7.644417561014788E-2</c:v>
                </c:pt>
                <c:pt idx="8">
                  <c:v>8.2955703414418672E-2</c:v>
                </c:pt>
                <c:pt idx="9">
                  <c:v>1.503831934502595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8526375298133922E-6</c:v>
                </c:pt>
                <c:pt idx="1">
                  <c:v>4.149199193491643E-3</c:v>
                </c:pt>
                <c:pt idx="2">
                  <c:v>3.5030122747466315E-2</c:v>
                </c:pt>
                <c:pt idx="3">
                  <c:v>0.14359216493144436</c:v>
                </c:pt>
                <c:pt idx="4">
                  <c:v>0.31161910677500987</c:v>
                </c:pt>
                <c:pt idx="5">
                  <c:v>1.2019983161347771E-3</c:v>
                </c:pt>
                <c:pt idx="6">
                  <c:v>2.9343899142781579E-3</c:v>
                </c:pt>
                <c:pt idx="7">
                  <c:v>3.5483747303753276E-2</c:v>
                </c:pt>
                <c:pt idx="8">
                  <c:v>5.4894006264755053E-2</c:v>
                </c:pt>
                <c:pt idx="9">
                  <c:v>4.390181173222175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5">
                  <c:v>3.0086352684843029E-6</c:v>
                </c:pt>
                <c:pt idx="7">
                  <c:v>4.3893659301171672E-2</c:v>
                </c:pt>
                <c:pt idx="8">
                  <c:v>0.120400439648960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9428990141866858E-3</c:v>
                </c:pt>
                <c:pt idx="5">
                  <c:v>7.6898970512948056E-2</c:v>
                </c:pt>
                <c:pt idx="6">
                  <c:v>2.118923587943136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3341962940407184E-2</c:v>
                </c:pt>
                <c:pt idx="1">
                  <c:v>2.9513741456325049E-4</c:v>
                </c:pt>
                <c:pt idx="2">
                  <c:v>9.8702647356404389E-4</c:v>
                </c:pt>
                <c:pt idx="3">
                  <c:v>2.0224822696756255E-3</c:v>
                </c:pt>
                <c:pt idx="4">
                  <c:v>5.1410783045854995E-3</c:v>
                </c:pt>
                <c:pt idx="5">
                  <c:v>4.9460022758870013E-3</c:v>
                </c:pt>
                <c:pt idx="6">
                  <c:v>5.3900186098649272E-2</c:v>
                </c:pt>
                <c:pt idx="7">
                  <c:v>3.5775487872045653E-2</c:v>
                </c:pt>
                <c:pt idx="8">
                  <c:v>4.9165952924563319E-3</c:v>
                </c:pt>
                <c:pt idx="9">
                  <c:v>1.104605880911422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5703903842099452E-3</c:v>
                </c:pt>
                <c:pt idx="1">
                  <c:v>1.3804250705271718E-5</c:v>
                </c:pt>
                <c:pt idx="2">
                  <c:v>7.2152308572690678E-3</c:v>
                </c:pt>
                <c:pt idx="4">
                  <c:v>4.8225463571837318E-3</c:v>
                </c:pt>
                <c:pt idx="5">
                  <c:v>2.9913968144809101E-2</c:v>
                </c:pt>
                <c:pt idx="6">
                  <c:v>0.12019831688535947</c:v>
                </c:pt>
                <c:pt idx="7">
                  <c:v>4.8305779212304355E-2</c:v>
                </c:pt>
                <c:pt idx="8">
                  <c:v>1.4731331633318944E-3</c:v>
                </c:pt>
                <c:pt idx="9">
                  <c:v>6.298973716706656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0092651620870016E-3</c:v>
                </c:pt>
                <c:pt idx="2">
                  <c:v>4.5795287981768351E-2</c:v>
                </c:pt>
                <c:pt idx="3">
                  <c:v>1.8224748260664411E-3</c:v>
                </c:pt>
                <c:pt idx="4">
                  <c:v>2.6213174023913981E-2</c:v>
                </c:pt>
                <c:pt idx="5">
                  <c:v>8.544140974027929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1">
                  <c:v>8.6260880259419516E-4</c:v>
                </c:pt>
                <c:pt idx="2">
                  <c:v>1.0020160480689108E-2</c:v>
                </c:pt>
                <c:pt idx="3">
                  <c:v>1.4463089943477869E-4</c:v>
                </c:pt>
                <c:pt idx="4">
                  <c:v>7.3316728492977407E-2</c:v>
                </c:pt>
                <c:pt idx="5">
                  <c:v>2.2879918078046724E-2</c:v>
                </c:pt>
                <c:pt idx="6">
                  <c:v>6.901042973887378E-2</c:v>
                </c:pt>
                <c:pt idx="8">
                  <c:v>2.063280567630788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549833972511972E-2</c:v>
                </c:pt>
                <c:pt idx="1">
                  <c:v>1.9753255293302682E-2</c:v>
                </c:pt>
                <c:pt idx="2">
                  <c:v>1.7052641882598613E-2</c:v>
                </c:pt>
                <c:pt idx="3">
                  <c:v>2.6413021926169847E-2</c:v>
                </c:pt>
                <c:pt idx="4">
                  <c:v>3.648353654863614E-2</c:v>
                </c:pt>
                <c:pt idx="5">
                  <c:v>0.14291681935004569</c:v>
                </c:pt>
                <c:pt idx="6">
                  <c:v>3.1193841798267188E-2</c:v>
                </c:pt>
                <c:pt idx="7">
                  <c:v>2.8138396397843525E-2</c:v>
                </c:pt>
                <c:pt idx="8">
                  <c:v>6.0849764574778878E-2</c:v>
                </c:pt>
                <c:pt idx="9">
                  <c:v>8.73934562831929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0379942463993448E-2</c:v>
                </c:pt>
                <c:pt idx="1">
                  <c:v>9.152991779240488E-2</c:v>
                </c:pt>
                <c:pt idx="2">
                  <c:v>4.8661682695440873E-3</c:v>
                </c:pt>
                <c:pt idx="3">
                  <c:v>4.1438958765861969E-2</c:v>
                </c:pt>
                <c:pt idx="4">
                  <c:v>0.12055059537663741</c:v>
                </c:pt>
                <c:pt idx="5">
                  <c:v>0.23404232341194106</c:v>
                </c:pt>
                <c:pt idx="6">
                  <c:v>0.1719810820120844</c:v>
                </c:pt>
                <c:pt idx="7">
                  <c:v>0.22892217743061699</c:v>
                </c:pt>
                <c:pt idx="8">
                  <c:v>4.438874975561162E-2</c:v>
                </c:pt>
                <c:pt idx="9">
                  <c:v>3.190008472130415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3">
                  <c:v>3.7381646200109857E-3</c:v>
                </c:pt>
                <c:pt idx="4">
                  <c:v>2.0456936440401821E-2</c:v>
                </c:pt>
                <c:pt idx="6">
                  <c:v>2.1934438744635094E-2</c:v>
                </c:pt>
                <c:pt idx="7">
                  <c:v>0.21666793903790116</c:v>
                </c:pt>
                <c:pt idx="8">
                  <c:v>4.7464412397240502E-3</c:v>
                </c:pt>
                <c:pt idx="9">
                  <c:v>1.844894843172487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2037314613959463E-3</c:v>
                </c:pt>
                <c:pt idx="1">
                  <c:v>7.9541946355587423E-2</c:v>
                </c:pt>
                <c:pt idx="4">
                  <c:v>2.6674549161631492E-2</c:v>
                </c:pt>
                <c:pt idx="5">
                  <c:v>0.1542851290836134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6.4451499380882779E-3</c:v>
                </c:pt>
                <c:pt idx="4">
                  <c:v>3.3661356844271073E-2</c:v>
                </c:pt>
                <c:pt idx="6">
                  <c:v>0.11889825064471982</c:v>
                </c:pt>
                <c:pt idx="8">
                  <c:v>2.37284821852510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3176211002597501E-2</c:v>
                </c:pt>
                <c:pt idx="1">
                  <c:v>1.1987971436817459E-2</c:v>
                </c:pt>
                <c:pt idx="2">
                  <c:v>4.8661682695440873E-3</c:v>
                </c:pt>
                <c:pt idx="3">
                  <c:v>3.1255644207762709E-2</c:v>
                </c:pt>
                <c:pt idx="4">
                  <c:v>3.9757752930333019E-2</c:v>
                </c:pt>
                <c:pt idx="5">
                  <c:v>7.9757194328327646E-2</c:v>
                </c:pt>
                <c:pt idx="6">
                  <c:v>3.1148392622729518E-2</c:v>
                </c:pt>
                <c:pt idx="7">
                  <c:v>1.2254238392715829E-2</c:v>
                </c:pt>
                <c:pt idx="8">
                  <c:v>1.5913826330636528E-2</c:v>
                </c:pt>
                <c:pt idx="9">
                  <c:v>1.34511362895792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8.3531651380679903E-3</c:v>
                </c:pt>
                <c:pt idx="3">
                  <c:v>0.38021225596049668</c:v>
                </c:pt>
                <c:pt idx="4">
                  <c:v>0.10773548689713384</c:v>
                </c:pt>
                <c:pt idx="5">
                  <c:v>0.11240208748273982</c:v>
                </c:pt>
                <c:pt idx="6">
                  <c:v>5.7039334901111492E-3</c:v>
                </c:pt>
                <c:pt idx="7">
                  <c:v>0.18405881254330331</c:v>
                </c:pt>
                <c:pt idx="8">
                  <c:v>0.2011401678119552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8.3435823860633241E-3</c:v>
                </c:pt>
                <c:pt idx="3">
                  <c:v>0.38001590936473439</c:v>
                </c:pt>
                <c:pt idx="4">
                  <c:v>0.10724137624689321</c:v>
                </c:pt>
                <c:pt idx="7">
                  <c:v>3.8468460617734138E-2</c:v>
                </c:pt>
                <c:pt idx="8">
                  <c:v>4.210651248817253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6">
                  <c:v>6.8676389366778733E-5</c:v>
                </c:pt>
                <c:pt idx="7">
                  <c:v>4.1238774330083286E-3</c:v>
                </c:pt>
                <c:pt idx="8">
                  <c:v>0.1395332540959526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0.11240208748273982</c:v>
                </c:pt>
                <c:pt idx="6">
                  <c:v>5.1927535628622044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2">
                  <c:v>9.5827520046668004E-6</c:v>
                </c:pt>
                <c:pt idx="3">
                  <c:v>1.9634659576228745E-4</c:v>
                </c:pt>
                <c:pt idx="4">
                  <c:v>4.9411065024063193E-4</c:v>
                </c:pt>
                <c:pt idx="6">
                  <c:v>4.4250353788216591E-4</c:v>
                </c:pt>
                <c:pt idx="7">
                  <c:v>0.14146647449256083</c:v>
                </c:pt>
                <c:pt idx="8">
                  <c:v>1.95004012278300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16769999999999999</c:v>
                </c:pt>
                <c:pt idx="3">
                  <c:v>3.3399999999999999E-2</c:v>
                </c:pt>
                <c:pt idx="4">
                  <c:v>4.8500000000000001E-2</c:v>
                </c:pt>
                <c:pt idx="5">
                  <c:v>0.12939999999999999</c:v>
                </c:pt>
                <c:pt idx="7">
                  <c:v>0.314</c:v>
                </c:pt>
                <c:pt idx="8">
                  <c:v>0.30709999999999998</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9714416230522547E-2</c:v>
                </c:pt>
                <c:pt idx="1">
                  <c:v>2.2345770538797674E-2</c:v>
                </c:pt>
                <c:pt idx="2">
                  <c:v>3.4290183944523427E-2</c:v>
                </c:pt>
                <c:pt idx="3">
                  <c:v>8.0807880654489975E-2</c:v>
                </c:pt>
                <c:pt idx="4">
                  <c:v>0.16453614933211275</c:v>
                </c:pt>
                <c:pt idx="5">
                  <c:v>0.12102190703651872</c:v>
                </c:pt>
                <c:pt idx="6">
                  <c:v>6.8379321560170542E-2</c:v>
                </c:pt>
                <c:pt idx="7">
                  <c:v>0.27703323856372303</c:v>
                </c:pt>
                <c:pt idx="8">
                  <c:v>0.16530007726544974</c:v>
                </c:pt>
                <c:pt idx="9">
                  <c:v>4.2694142118576014E-2</c:v>
                </c:pt>
                <c:pt idx="10">
                  <c:v>3.876912755115576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2">
                  <c:v>3.4580878578177295E-3</c:v>
                </c:pt>
                <c:pt idx="3">
                  <c:v>6.8898226340421672E-4</c:v>
                </c:pt>
                <c:pt idx="4">
                  <c:v>1.0002568881030992E-3</c:v>
                </c:pt>
                <c:pt idx="5">
                  <c:v>2.6683789960321833E-3</c:v>
                </c:pt>
                <c:pt idx="6">
                  <c:v>2.9672230884418343E-4</c:v>
                </c:pt>
                <c:pt idx="7">
                  <c:v>6.4898053681387586E-3</c:v>
                </c:pt>
                <c:pt idx="8">
                  <c:v>6.9492715664303852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3.3056637527228581E-4</c:v>
                </c:pt>
                <c:pt idx="1">
                  <c:v>2.422229295471721E-3</c:v>
                </c:pt>
                <c:pt idx="2">
                  <c:v>2.893465359741278E-3</c:v>
                </c:pt>
                <c:pt idx="3">
                  <c:v>4.5063372241892609E-3</c:v>
                </c:pt>
                <c:pt idx="4">
                  <c:v>1.895208569003325E-2</c:v>
                </c:pt>
                <c:pt idx="5">
                  <c:v>1.3879238139532797E-2</c:v>
                </c:pt>
                <c:pt idx="6">
                  <c:v>3.2546092553145244E-2</c:v>
                </c:pt>
                <c:pt idx="7">
                  <c:v>5.4797824635366692E-2</c:v>
                </c:pt>
                <c:pt idx="8">
                  <c:v>0.11617114114660547</c:v>
                </c:pt>
                <c:pt idx="9">
                  <c:v>6.3797939802453227E-2</c:v>
                </c:pt>
                <c:pt idx="10">
                  <c:v>7.450298016383463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6.9101281910487233E-4</c:v>
                </c:pt>
                <c:pt idx="3">
                  <c:v>2.9140755001029332E-4</c:v>
                </c:pt>
                <c:pt idx="4">
                  <c:v>8.6853856548621848E-4</c:v>
                </c:pt>
                <c:pt idx="5">
                  <c:v>2.0029439688114176E-2</c:v>
                </c:pt>
                <c:pt idx="6">
                  <c:v>9.3104900201832746E-3</c:v>
                </c:pt>
                <c:pt idx="7">
                  <c:v>2.3458414085719462E-3</c:v>
                </c:pt>
                <c:pt idx="8">
                  <c:v>1.0868233033067042E-3</c:v>
                </c:pt>
                <c:pt idx="10">
                  <c:v>7.1525588847009192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5.4165809023577501E-5</c:v>
                </c:pt>
                <c:pt idx="4">
                  <c:v>5.2711313146694789E-3</c:v>
                </c:pt>
                <c:pt idx="5">
                  <c:v>3.1237450903673766E-5</c:v>
                </c:pt>
                <c:pt idx="6">
                  <c:v>1.2010734762252595E-2</c:v>
                </c:pt>
                <c:pt idx="7">
                  <c:v>2.733592205201067E-3</c:v>
                </c:pt>
                <c:pt idx="8">
                  <c:v>1.574060146497428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631964532277691E-2</c:v>
                </c:pt>
                <c:pt idx="1">
                  <c:v>1.6611397184406011E-2</c:v>
                </c:pt>
                <c:pt idx="2">
                  <c:v>1.2784942244105962E-2</c:v>
                </c:pt>
                <c:pt idx="3">
                  <c:v>4.0689582483897993E-2</c:v>
                </c:pt>
                <c:pt idx="4">
                  <c:v>4.3049434726804461E-2</c:v>
                </c:pt>
                <c:pt idx="5">
                  <c:v>6.2480287929914377E-2</c:v>
                </c:pt>
                <c:pt idx="6">
                  <c:v>7.4736410934339692E-2</c:v>
                </c:pt>
                <c:pt idx="7">
                  <c:v>0.111832537387502</c:v>
                </c:pt>
                <c:pt idx="8">
                  <c:v>0.10268484864203598</c:v>
                </c:pt>
                <c:pt idx="9">
                  <c:v>2.7871565724546132E-2</c:v>
                </c:pt>
                <c:pt idx="10">
                  <c:v>1.411577286456721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2">
                  <c:v>3.4267255754208456E-2</c:v>
                </c:pt>
                <c:pt idx="3">
                  <c:v>6.8273370720791371E-3</c:v>
                </c:pt>
                <c:pt idx="4">
                  <c:v>9.9118530279817454E-3</c:v>
                </c:pt>
                <c:pt idx="5">
                  <c:v>2.6441787850900917E-2</c:v>
                </c:pt>
                <c:pt idx="6">
                  <c:v>1.4726532412161027E-6</c:v>
                </c:pt>
                <c:pt idx="7">
                  <c:v>6.4171820023489701E-2</c:v>
                </c:pt>
                <c:pt idx="8">
                  <c:v>6.276456862498126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9709750398471171E-2</c:v>
                </c:pt>
                <c:pt idx="1">
                  <c:v>2.2345770538797674E-2</c:v>
                </c:pt>
                <c:pt idx="2">
                  <c:v>2.2673027624663761E-5</c:v>
                </c:pt>
                <c:pt idx="3">
                  <c:v>3.8211269006512912E-3</c:v>
                </c:pt>
                <c:pt idx="4">
                  <c:v>0.11408516349319735</c:v>
                </c:pt>
                <c:pt idx="5">
                  <c:v>1.9640236791268222E-5</c:v>
                </c:pt>
                <c:pt idx="6">
                  <c:v>2.5733055252659218E-2</c:v>
                </c:pt>
                <c:pt idx="7">
                  <c:v>7.3872398343894988E-2</c:v>
                </c:pt>
                <c:pt idx="8">
                  <c:v>3.6807582595306237E-3</c:v>
                </c:pt>
                <c:pt idx="10">
                  <c:v>3.4703583954638081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2.5516269030972075E-7</c:v>
                </c:pt>
                <c:pt idx="3">
                  <c:v>7.015941668175954E-2</c:v>
                </c:pt>
                <c:pt idx="4">
                  <c:v>3.9081359199743898E-2</c:v>
                </c:pt>
                <c:pt idx="5">
                  <c:v>4.124769773083601E-2</c:v>
                </c:pt>
                <c:pt idx="6">
                  <c:v>2.2447565871506092E-2</c:v>
                </c:pt>
                <c:pt idx="7">
                  <c:v>7.0072880077931637E-2</c:v>
                </c:pt>
                <c:pt idx="8">
                  <c:v>1.7753607601293627E-2</c:v>
                </c:pt>
                <c:pt idx="9">
                  <c:v>1.3094949266694871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4488502073914959E-3</c:v>
                </c:pt>
                <c:pt idx="5">
                  <c:v>8.9437949423969865E-3</c:v>
                </c:pt>
                <c:pt idx="6">
                  <c:v>5.4633029429465921E-3</c:v>
                </c:pt>
                <c:pt idx="7">
                  <c:v>5.6927277372029003E-2</c:v>
                </c:pt>
                <c:pt idx="8">
                  <c:v>4.2365689413246761E-2</c:v>
                </c:pt>
                <c:pt idx="9">
                  <c:v>4.2318673864966551E-2</c:v>
                </c:pt>
                <c:pt idx="10">
                  <c:v>3.5298769155691955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6658320513777511E-6</c:v>
                </c:pt>
                <c:pt idx="4">
                  <c:v>8.9234037982599497E-6</c:v>
                </c:pt>
                <c:pt idx="5">
                  <c:v>4.4368986275593533E-2</c:v>
                </c:pt>
                <c:pt idx="6">
                  <c:v>1.4733924839817428E-2</c:v>
                </c:pt>
                <c:pt idx="7">
                  <c:v>1.1988862746377713E-2</c:v>
                </c:pt>
                <c:pt idx="8">
                  <c:v>3.8735453366397464E-2</c:v>
                </c:pt>
                <c:pt idx="9">
                  <c:v>2.4451876094251526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1216</c:v>
                </c:pt>
                <c:pt idx="3">
                  <c:v>0.13950000000000001</c:v>
                </c:pt>
                <c:pt idx="4">
                  <c:v>7.4099999999999999E-2</c:v>
                </c:pt>
                <c:pt idx="5">
                  <c:v>9.11E-2</c:v>
                </c:pt>
                <c:pt idx="6">
                  <c:v>7.6200000000000004E-2</c:v>
                </c:pt>
                <c:pt idx="7">
                  <c:v>0.22750000000000001</c:v>
                </c:pt>
                <c:pt idx="8">
                  <c:v>0.27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6805477649151867E-2</c:v>
                </c:pt>
                <c:pt idx="1">
                  <c:v>4.5407020016068167E-2</c:v>
                </c:pt>
                <c:pt idx="2">
                  <c:v>3.4094052235638918E-2</c:v>
                </c:pt>
                <c:pt idx="3">
                  <c:v>0.10811884818817145</c:v>
                </c:pt>
                <c:pt idx="4">
                  <c:v>0.16540679175863299</c:v>
                </c:pt>
                <c:pt idx="5">
                  <c:v>9.9729932584249212E-2</c:v>
                </c:pt>
                <c:pt idx="6">
                  <c:v>9.5739273110062556E-2</c:v>
                </c:pt>
                <c:pt idx="7">
                  <c:v>0.19579893844579263</c:v>
                </c:pt>
                <c:pt idx="8">
                  <c:v>0.18662621492811068</c:v>
                </c:pt>
                <c:pt idx="9">
                  <c:v>2.094787125337853E-2</c:v>
                </c:pt>
                <c:pt idx="10">
                  <c:v>1.132557983074297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9434962778531443E-6</c:v>
                </c:pt>
                <c:pt idx="1">
                  <c:v>2.2329531702993578E-6</c:v>
                </c:pt>
                <c:pt idx="2">
                  <c:v>2.7770080751443327E-2</c:v>
                </c:pt>
                <c:pt idx="3">
                  <c:v>3.1861967436016901E-2</c:v>
                </c:pt>
                <c:pt idx="4">
                  <c:v>1.691900346938896E-2</c:v>
                </c:pt>
                <c:pt idx="5">
                  <c:v>2.0802357138447355E-2</c:v>
                </c:pt>
                <c:pt idx="6">
                  <c:v>1.7400080824634567E-2</c:v>
                </c:pt>
                <c:pt idx="7">
                  <c:v>5.1980627394506297E-2</c:v>
                </c:pt>
                <c:pt idx="8">
                  <c:v>6.171832941525862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3.6797620962071183E-2</c:v>
                </c:pt>
                <c:pt idx="1">
                  <c:v>4.5384731835349808E-2</c:v>
                </c:pt>
                <c:pt idx="2">
                  <c:v>6.2928341927653061E-3</c:v>
                </c:pt>
                <c:pt idx="3">
                  <c:v>8.6582345668511241E-3</c:v>
                </c:pt>
                <c:pt idx="4">
                  <c:v>7.5227530691631198E-2</c:v>
                </c:pt>
                <c:pt idx="5">
                  <c:v>5.5666695515870282E-4</c:v>
                </c:pt>
                <c:pt idx="6">
                  <c:v>9.3927521069257069E-3</c:v>
                </c:pt>
                <c:pt idx="7">
                  <c:v>4.3276493234710132E-2</c:v>
                </c:pt>
                <c:pt idx="8">
                  <c:v>4.9627715017780301E-2</c:v>
                </c:pt>
                <c:pt idx="10">
                  <c:v>5.7403436870547562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5.9131908028297804E-6</c:v>
                </c:pt>
                <c:pt idx="1">
                  <c:v>2.0055227548059046E-5</c:v>
                </c:pt>
                <c:pt idx="2">
                  <c:v>3.1137291430285486E-5</c:v>
                </c:pt>
                <c:pt idx="3">
                  <c:v>6.7302200976453883E-2</c:v>
                </c:pt>
                <c:pt idx="4">
                  <c:v>7.3258272750350337E-2</c:v>
                </c:pt>
                <c:pt idx="5">
                  <c:v>3.46323593536196E-2</c:v>
                </c:pt>
                <c:pt idx="6">
                  <c:v>3.1598520312906206E-2</c:v>
                </c:pt>
                <c:pt idx="7">
                  <c:v>4.0062529304925924E-2</c:v>
                </c:pt>
                <c:pt idx="8">
                  <c:v>1.7947940020065979E-2</c:v>
                </c:pt>
                <c:pt idx="9">
                  <c:v>1.3892483552955994E-2</c:v>
                </c:pt>
                <c:pt idx="10">
                  <c:v>1.2405295390551985E-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1.8649087315539978E-2</c:v>
                </c:pt>
                <c:pt idx="6">
                  <c:v>8.1119053578512148E-3</c:v>
                </c:pt>
                <c:pt idx="7">
                  <c:v>2.9251355723044502E-2</c:v>
                </c:pt>
                <c:pt idx="8">
                  <c:v>2.9765183058121165E-2</c:v>
                </c:pt>
                <c:pt idx="9">
                  <c:v>7.0543952767912928E-3</c:v>
                </c:pt>
                <c:pt idx="10">
                  <c:v>1.075142140908359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3">
                  <c:v>2.9644520884955728E-4</c:v>
                </c:pt>
                <c:pt idx="4">
                  <c:v>1.9848472624883176E-6</c:v>
                </c:pt>
                <c:pt idx="5">
                  <c:v>2.5089461821483583E-2</c:v>
                </c:pt>
                <c:pt idx="6">
                  <c:v>2.9236014507744851E-2</c:v>
                </c:pt>
                <c:pt idx="7">
                  <c:v>3.1227932788605785E-2</c:v>
                </c:pt>
                <c:pt idx="8">
                  <c:v>2.7567047416884625E-2</c:v>
                </c:pt>
                <c:pt idx="9">
                  <c:v>9.9242363124415881E-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0.1661</c:v>
                </c:pt>
                <c:pt idx="2">
                  <c:v>3.4200000000000001E-2</c:v>
                </c:pt>
                <c:pt idx="4">
                  <c:v>3.2000000000000002E-3</c:v>
                </c:pt>
                <c:pt idx="5">
                  <c:v>0.22309999999999999</c:v>
                </c:pt>
                <c:pt idx="6">
                  <c:v>3.27E-2</c:v>
                </c:pt>
                <c:pt idx="7">
                  <c:v>0.2772</c:v>
                </c:pt>
                <c:pt idx="8">
                  <c:v>0.2635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3.8897799983816629E-2</c:v>
                </c:pt>
                <c:pt idx="2">
                  <c:v>1.763736145551981E-2</c:v>
                </c:pt>
                <c:pt idx="3">
                  <c:v>0.22477381694972196</c:v>
                </c:pt>
                <c:pt idx="4">
                  <c:v>0.11083399654413399</c:v>
                </c:pt>
                <c:pt idx="5">
                  <c:v>0.10979447122894243</c:v>
                </c:pt>
                <c:pt idx="6">
                  <c:v>1.7616876179823847E-2</c:v>
                </c:pt>
                <c:pt idx="7">
                  <c:v>0.22932390396093047</c:v>
                </c:pt>
                <c:pt idx="8">
                  <c:v>0.16853226072429789</c:v>
                </c:pt>
                <c:pt idx="9">
                  <c:v>8.214544340891376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1">
                  <c:v>3.8897799983816629E-2</c:v>
                </c:pt>
                <c:pt idx="2">
                  <c:v>8.0035460012229716E-3</c:v>
                </c:pt>
                <c:pt idx="4">
                  <c:v>7.4648344636084199E-4</c:v>
                </c:pt>
                <c:pt idx="5">
                  <c:v>5.2241447653462884E-2</c:v>
                </c:pt>
                <c:pt idx="6">
                  <c:v>7.6509944064954713E-3</c:v>
                </c:pt>
                <c:pt idx="7">
                  <c:v>6.4911846737361348E-2</c:v>
                </c:pt>
                <c:pt idx="8">
                  <c:v>6.1714556119924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8.8598817385034079E-6</c:v>
                </c:pt>
                <c:pt idx="3">
                  <c:v>0.14632611944349699</c:v>
                </c:pt>
                <c:pt idx="4">
                  <c:v>1.0608453658721453E-2</c:v>
                </c:pt>
                <c:pt idx="5">
                  <c:v>1.7975829423206335E-5</c:v>
                </c:pt>
                <c:pt idx="6">
                  <c:v>6.4528618442279151E-6</c:v>
                </c:pt>
                <c:pt idx="7">
                  <c:v>2.055856176976394E-2</c:v>
                </c:pt>
                <c:pt idx="8">
                  <c:v>6.343675324768439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9.6249555725583351E-3</c:v>
                </c:pt>
                <c:pt idx="3">
                  <c:v>7.8447697506224962E-2</c:v>
                </c:pt>
                <c:pt idx="4">
                  <c:v>8.9890567657232176E-2</c:v>
                </c:pt>
                <c:pt idx="5">
                  <c:v>1.1853292649575801E-3</c:v>
                </c:pt>
                <c:pt idx="6">
                  <c:v>9.9112373004093986E-3</c:v>
                </c:pt>
                <c:pt idx="7">
                  <c:v>9.702676708548813E-2</c:v>
                </c:pt>
                <c:pt idx="8">
                  <c:v>3.70829581967221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1.4851824879572185E-6</c:v>
                </c:pt>
                <c:pt idx="6">
                  <c:v>1.3315429202375063E-6</c:v>
                </c:pt>
                <c:pt idx="7">
                  <c:v>4.3669281612109256E-2</c:v>
                </c:pt>
                <c:pt idx="8">
                  <c:v>1.3213002823895256E-5</c:v>
                </c:pt>
                <c:pt idx="9">
                  <c:v>8.214544340891376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4">
                  <c:v>9.5884917818195217E-3</c:v>
                </c:pt>
                <c:pt idx="5">
                  <c:v>5.6348233298610793E-2</c:v>
                </c:pt>
                <c:pt idx="6">
                  <c:v>4.6860068154512241E-5</c:v>
                </c:pt>
                <c:pt idx="7">
                  <c:v>3.1574467562078068E-3</c:v>
                </c:pt>
                <c:pt idx="8">
                  <c:v>3.965944253419248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0.32029999999999997</c:v>
                </c:pt>
                <c:pt idx="7">
                  <c:v>1.4999999999999999E-2</c:v>
                </c:pt>
                <c:pt idx="8">
                  <c:v>0.66469999999999996</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1.2574445260241806E-2</c:v>
                </c:pt>
                <c:pt idx="2">
                  <c:v>7.6663425080420455E-3</c:v>
                </c:pt>
                <c:pt idx="3">
                  <c:v>5.7978765788628567E-2</c:v>
                </c:pt>
                <c:pt idx="4">
                  <c:v>2.3980990241791268E-2</c:v>
                </c:pt>
                <c:pt idx="5">
                  <c:v>2.1307474066270562E-2</c:v>
                </c:pt>
                <c:pt idx="6">
                  <c:v>0.18064157338881034</c:v>
                </c:pt>
                <c:pt idx="7">
                  <c:v>0.14442246881480472</c:v>
                </c:pt>
                <c:pt idx="8">
                  <c:v>0.30330573706980096</c:v>
                </c:pt>
                <c:pt idx="9">
                  <c:v>0.14396439387256088</c:v>
                </c:pt>
                <c:pt idx="10">
                  <c:v>0.1040218862058693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6">
                  <c:v>2.3065561311657662E-3</c:v>
                </c:pt>
                <c:pt idx="7">
                  <c:v>1.0804015962936446E-4</c:v>
                </c:pt>
                <c:pt idx="8">
                  <c:v>4.7859524859267134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1.1275926362546224E-2</c:v>
                </c:pt>
                <c:pt idx="2">
                  <c:v>4.8657953197085244E-3</c:v>
                </c:pt>
                <c:pt idx="3">
                  <c:v>4.2149154401220919E-2</c:v>
                </c:pt>
                <c:pt idx="4">
                  <c:v>2.2483264789837858E-2</c:v>
                </c:pt>
                <c:pt idx="6">
                  <c:v>9.4448161682550907E-2</c:v>
                </c:pt>
                <c:pt idx="7">
                  <c:v>1.973482085823482E-2</c:v>
                </c:pt>
                <c:pt idx="8">
                  <c:v>0.1011592225058878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6">
                  <c:v>5.3197161916266004E-3</c:v>
                </c:pt>
                <c:pt idx="7">
                  <c:v>6.4896763399019636E-4</c:v>
                </c:pt>
                <c:pt idx="8">
                  <c:v>2.0839242822610453E-2</c:v>
                </c:pt>
                <c:pt idx="9">
                  <c:v>6.557852873425947E-2</c:v>
                </c:pt>
                <c:pt idx="10">
                  <c:v>9.995731721349586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Tartar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1.0286759823200477E-3</c:v>
                </c:pt>
                <c:pt idx="6">
                  <c:v>4.0806703062807497E-3</c:v>
                </c:pt>
                <c:pt idx="7">
                  <c:v>4.8291170530388838E-2</c:v>
                </c:pt>
                <c:pt idx="8">
                  <c:v>4.2742425450430249E-2</c:v>
                </c:pt>
                <c:pt idx="9">
                  <c:v>1.03754772617691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1.2985188976955815E-3</c:v>
                </c:pt>
                <c:pt idx="2">
                  <c:v>2.8005471883335211E-3</c:v>
                </c:pt>
                <c:pt idx="3">
                  <c:v>1.5829611387407648E-2</c:v>
                </c:pt>
                <c:pt idx="4">
                  <c:v>1.4977254519534103E-3</c:v>
                </c:pt>
                <c:pt idx="5">
                  <c:v>2.0278798083950514E-2</c:v>
                </c:pt>
                <c:pt idx="6">
                  <c:v>7.4486469077186326E-2</c:v>
                </c:pt>
                <c:pt idx="7">
                  <c:v>7.563946963256149E-2</c:v>
                </c:pt>
                <c:pt idx="8">
                  <c:v>0.13377889380494568</c:v>
                </c:pt>
                <c:pt idx="9">
                  <c:v>6.8010387876532283E-2</c:v>
                </c:pt>
                <c:pt idx="10">
                  <c:v>4.064568992373481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1152</c:v>
                </c:pt>
                <c:pt idx="3">
                  <c:v>0.1321</c:v>
                </c:pt>
                <c:pt idx="4">
                  <c:v>7.0199999999999999E-2</c:v>
                </c:pt>
                <c:pt idx="5">
                  <c:v>8.6300000000000002E-2</c:v>
                </c:pt>
                <c:pt idx="6">
                  <c:v>9.5299999999999996E-2</c:v>
                </c:pt>
                <c:pt idx="7">
                  <c:v>0.22919999999999999</c:v>
                </c:pt>
                <c:pt idx="8">
                  <c:v>0.2717</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0.44019999999999998</c:v>
                </c:pt>
                <c:pt idx="7">
                  <c:v>0.2596</c:v>
                </c:pt>
                <c:pt idx="8">
                  <c:v>0.3002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2.7505558144520048E-2</c:v>
                </c:pt>
                <c:pt idx="2">
                  <c:v>4.4503254509310457E-3</c:v>
                </c:pt>
                <c:pt idx="3">
                  <c:v>6.4716249229014172E-2</c:v>
                </c:pt>
                <c:pt idx="4">
                  <c:v>2.4844439046991046E-2</c:v>
                </c:pt>
                <c:pt idx="5">
                  <c:v>6.5073631970893664E-2</c:v>
                </c:pt>
                <c:pt idx="6">
                  <c:v>0.12226394010157357</c:v>
                </c:pt>
                <c:pt idx="7">
                  <c:v>0.24437305930213671</c:v>
                </c:pt>
                <c:pt idx="8">
                  <c:v>0.24572902336939234</c:v>
                </c:pt>
                <c:pt idx="9">
                  <c:v>0.15850126894474115</c:v>
                </c:pt>
                <c:pt idx="10">
                  <c:v>4.243778455336497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6">
                  <c:v>4.5544047456652003E-3</c:v>
                </c:pt>
                <c:pt idx="7">
                  <c:v>2.6853604363414013E-3</c:v>
                </c:pt>
                <c:pt idx="8">
                  <c:v>3.1063303339930529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2.0651530316272263E-2</c:v>
                </c:pt>
                <c:pt idx="2">
                  <c:v>1.5243385401751135E-3</c:v>
                </c:pt>
                <c:pt idx="3">
                  <c:v>4.4125305402096381E-2</c:v>
                </c:pt>
                <c:pt idx="4">
                  <c:v>2.1155372551616352E-2</c:v>
                </c:pt>
                <c:pt idx="5">
                  <c:v>2.8571873614088271E-2</c:v>
                </c:pt>
                <c:pt idx="6">
                  <c:v>5.0025323601643933E-2</c:v>
                </c:pt>
                <c:pt idx="7">
                  <c:v>7.3200178367703553E-2</c:v>
                </c:pt>
                <c:pt idx="8">
                  <c:v>5.783201244447165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7">
                  <c:v>8.6061472933415747E-3</c:v>
                </c:pt>
                <c:pt idx="8">
                  <c:v>1.6702687025974779E-2</c:v>
                </c:pt>
                <c:pt idx="9">
                  <c:v>6.726550078526429E-2</c:v>
                </c:pt>
                <c:pt idx="10">
                  <c:v>3.709366509420507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rre Fra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4.3829958909750677E-7</c:v>
                </c:pt>
                <c:pt idx="6">
                  <c:v>3.6097005543950355E-3</c:v>
                </c:pt>
                <c:pt idx="7">
                  <c:v>4.4859726936658767E-2</c:v>
                </c:pt>
                <c:pt idx="8">
                  <c:v>2.577235299246347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6.8540278282477884E-3</c:v>
                </c:pt>
                <c:pt idx="2">
                  <c:v>2.9259869107559327E-3</c:v>
                </c:pt>
                <c:pt idx="3">
                  <c:v>2.0590943826917785E-2</c:v>
                </c:pt>
                <c:pt idx="4">
                  <c:v>3.6890664953746922E-3</c:v>
                </c:pt>
                <c:pt idx="5">
                  <c:v>3.6501320057216305E-2</c:v>
                </c:pt>
                <c:pt idx="6">
                  <c:v>6.4074511199869399E-2</c:v>
                </c:pt>
                <c:pt idx="7">
                  <c:v>0.1150216462680914</c:v>
                </c:pt>
                <c:pt idx="8">
                  <c:v>0.14231564057248938</c:v>
                </c:pt>
                <c:pt idx="9">
                  <c:v>9.1235768159476857E-2</c:v>
                </c:pt>
                <c:pt idx="10">
                  <c:v>5.344119459159885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3.5999999999999999E-3</c:v>
                </c:pt>
                <c:pt idx="7">
                  <c:v>9.4600000000000004E-2</c:v>
                </c:pt>
                <c:pt idx="8">
                  <c:v>0.90180000000000005</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5.9436752523768597E-3</c:v>
                </c:pt>
                <c:pt idx="2">
                  <c:v>4.2520320660761161E-3</c:v>
                </c:pt>
                <c:pt idx="3">
                  <c:v>8.4944165828123794E-2</c:v>
                </c:pt>
                <c:pt idx="4">
                  <c:v>2.7677276536064312E-2</c:v>
                </c:pt>
                <c:pt idx="5">
                  <c:v>0.10953939421161027</c:v>
                </c:pt>
                <c:pt idx="6">
                  <c:v>0.12398962027820842</c:v>
                </c:pt>
                <c:pt idx="7">
                  <c:v>0.1210615521418764</c:v>
                </c:pt>
                <c:pt idx="8">
                  <c:v>0.3262023710047276</c:v>
                </c:pt>
                <c:pt idx="9">
                  <c:v>0.10121561452946574</c:v>
                </c:pt>
                <c:pt idx="10">
                  <c:v>9.505555908267231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6">
                  <c:v>2.4167441358791468E-5</c:v>
                </c:pt>
                <c:pt idx="7">
                  <c:v>6.4008750634201065E-4</c:v>
                </c:pt>
                <c:pt idx="8">
                  <c:v>6.1005304947650291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5.9393624131633136E-3</c:v>
                </c:pt>
                <c:pt idx="2">
                  <c:v>3.4217133814501135E-3</c:v>
                </c:pt>
                <c:pt idx="3">
                  <c:v>7.5558495193670958E-2</c:v>
                </c:pt>
                <c:pt idx="4">
                  <c:v>2.5939862857929714E-2</c:v>
                </c:pt>
                <c:pt idx="5">
                  <c:v>7.0621965033675502E-2</c:v>
                </c:pt>
                <c:pt idx="6">
                  <c:v>2.4278526109345784E-2</c:v>
                </c:pt>
                <c:pt idx="7">
                  <c:v>2.7375105810264758E-2</c:v>
                </c:pt>
                <c:pt idx="8">
                  <c:v>0.101702848797374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8">
                  <c:v>1.9978081451737427E-2</c:v>
                </c:pt>
                <c:pt idx="9">
                  <c:v>3.3012064371184549E-2</c:v>
                </c:pt>
                <c:pt idx="10">
                  <c:v>8.991189607720463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3.7972412282872832E-4</c:v>
                </c:pt>
                <c:pt idx="5">
                  <c:v>2.9629555086729643E-2</c:v>
                </c:pt>
                <c:pt idx="6">
                  <c:v>4.0721750145490329E-3</c:v>
                </c:pt>
                <c:pt idx="7">
                  <c:v>2.1327844707948126E-2</c:v>
                </c:pt>
                <c:pt idx="8">
                  <c:v>6.9933581499023234E-2</c:v>
                </c:pt>
                <c:pt idx="9">
                  <c:v>9.431985087989302E-3</c:v>
                </c:pt>
                <c:pt idx="10">
                  <c:v>4.0408583622416603E-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4.3128392135463874E-6</c:v>
                </c:pt>
                <c:pt idx="2">
                  <c:v>8.3031868462600262E-4</c:v>
                </c:pt>
                <c:pt idx="3">
                  <c:v>9.3856706344528397E-3</c:v>
                </c:pt>
                <c:pt idx="4">
                  <c:v>1.3576895553058684E-3</c:v>
                </c:pt>
                <c:pt idx="5">
                  <c:v>9.2878740912051248E-3</c:v>
                </c:pt>
                <c:pt idx="6">
                  <c:v>9.5614751712954832E-2</c:v>
                </c:pt>
                <c:pt idx="7">
                  <c:v>7.1718514117321511E-2</c:v>
                </c:pt>
                <c:pt idx="8">
                  <c:v>0.12848732876182739</c:v>
                </c:pt>
                <c:pt idx="9">
                  <c:v>5.8771565070291895E-2</c:v>
                </c:pt>
                <c:pt idx="10">
                  <c:v>5.139622147105428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1440326896023377E-3</c:v>
                </c:pt>
                <c:pt idx="1">
                  <c:v>1.6414059402893172E-2</c:v>
                </c:pt>
                <c:pt idx="2">
                  <c:v>1.8161040186737358E-2</c:v>
                </c:pt>
                <c:pt idx="3">
                  <c:v>4.1076518711765486E-2</c:v>
                </c:pt>
                <c:pt idx="4">
                  <c:v>7.1941890867163433E-2</c:v>
                </c:pt>
                <c:pt idx="5">
                  <c:v>9.2447332939716881E-2</c:v>
                </c:pt>
                <c:pt idx="6">
                  <c:v>0.10831682527395142</c:v>
                </c:pt>
                <c:pt idx="7">
                  <c:v>0.18902377510261559</c:v>
                </c:pt>
                <c:pt idx="8">
                  <c:v>0.19576873044059107</c:v>
                </c:pt>
                <c:pt idx="9">
                  <c:v>4.9546663979823755E-2</c:v>
                </c:pt>
                <c:pt idx="10">
                  <c:v>0.2111591304051395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6.6405484166825383E-4</c:v>
                </c:pt>
                <c:pt idx="1">
                  <c:v>6.790208995048167E-3</c:v>
                </c:pt>
                <c:pt idx="2">
                  <c:v>1.4241990441861871E-4</c:v>
                </c:pt>
                <c:pt idx="3">
                  <c:v>1.3291292839119345E-2</c:v>
                </c:pt>
                <c:pt idx="4">
                  <c:v>5.2403168692109203E-2</c:v>
                </c:pt>
                <c:pt idx="5">
                  <c:v>2.0836488083426047E-3</c:v>
                </c:pt>
                <c:pt idx="6">
                  <c:v>3.6513051205990646E-2</c:v>
                </c:pt>
                <c:pt idx="7">
                  <c:v>8.9712340991130943E-2</c:v>
                </c:pt>
                <c:pt idx="8">
                  <c:v>0.14536600164662383</c:v>
                </c:pt>
                <c:pt idx="9">
                  <c:v>4.3141134383930919E-2</c:v>
                </c:pt>
                <c:pt idx="10">
                  <c:v>0.1750121406740338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6605486613245063E-5</c:v>
                </c:pt>
                <c:pt idx="1">
                  <c:v>2.5938176798877442E-3</c:v>
                </c:pt>
                <c:pt idx="3">
                  <c:v>2.5128979861358792E-3</c:v>
                </c:pt>
                <c:pt idx="4">
                  <c:v>9.7186763698980418E-3</c:v>
                </c:pt>
                <c:pt idx="5">
                  <c:v>4.3533327564330253E-2</c:v>
                </c:pt>
                <c:pt idx="6">
                  <c:v>1.3964839824646375E-2</c:v>
                </c:pt>
                <c:pt idx="7">
                  <c:v>1.4901842095617924E-2</c:v>
                </c:pt>
                <c:pt idx="8">
                  <c:v>1.5256675085942925E-2</c:v>
                </c:pt>
                <c:pt idx="9">
                  <c:v>2.6461277189915801E-3</c:v>
                </c:pt>
                <c:pt idx="10">
                  <c:v>2.446929473644236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3211287943793168E-6</c:v>
                </c:pt>
                <c:pt idx="5">
                  <c:v>2.3018579860218401E-2</c:v>
                </c:pt>
                <c:pt idx="6">
                  <c:v>1.1311895525152703E-2</c:v>
                </c:pt>
                <c:pt idx="7">
                  <c:v>3.585702971554603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5.4020512325264596E-3</c:v>
                </c:pt>
                <c:pt idx="1">
                  <c:v>7.030032727957259E-3</c:v>
                </c:pt>
                <c:pt idx="2">
                  <c:v>1.801862028231874E-2</c:v>
                </c:pt>
                <c:pt idx="3">
                  <c:v>2.5272327886510269E-2</c:v>
                </c:pt>
                <c:pt idx="4">
                  <c:v>9.8200458051561825E-3</c:v>
                </c:pt>
                <c:pt idx="5">
                  <c:v>2.3811776706825629E-2</c:v>
                </c:pt>
                <c:pt idx="6">
                  <c:v>4.652703871816171E-2</c:v>
                </c:pt>
                <c:pt idx="7">
                  <c:v>4.8552562300320679E-2</c:v>
                </c:pt>
                <c:pt idx="8">
                  <c:v>3.5146053708024289E-2</c:v>
                </c:pt>
                <c:pt idx="9">
                  <c:v>3.7594018769012555E-3</c:v>
                </c:pt>
                <c:pt idx="10">
                  <c:v>1.167769499466331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947267185702188E-2</c:v>
                </c:pt>
                <c:pt idx="1">
                  <c:v>2.5712148835382798E-2</c:v>
                </c:pt>
                <c:pt idx="2">
                  <c:v>3.3589224880169175E-2</c:v>
                </c:pt>
                <c:pt idx="3">
                  <c:v>4.7555465818613675E-2</c:v>
                </c:pt>
                <c:pt idx="4">
                  <c:v>7.2169314610381535E-2</c:v>
                </c:pt>
                <c:pt idx="5">
                  <c:v>0.11538975237199359</c:v>
                </c:pt>
                <c:pt idx="6">
                  <c:v>0.13910064653920554</c:v>
                </c:pt>
                <c:pt idx="7">
                  <c:v>0.18415888055193388</c:v>
                </c:pt>
                <c:pt idx="8">
                  <c:v>0.19567579739573698</c:v>
                </c:pt>
                <c:pt idx="9">
                  <c:v>0.1373325993517957</c:v>
                </c:pt>
                <c:pt idx="10">
                  <c:v>2.536890245908493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3549127697873031E-2</c:v>
                </c:pt>
                <c:pt idx="1">
                  <c:v>1.8015538173938125E-2</c:v>
                </c:pt>
                <c:pt idx="2">
                  <c:v>4.8921228940550794E-2</c:v>
                </c:pt>
                <c:pt idx="3">
                  <c:v>4.0205132124715194E-2</c:v>
                </c:pt>
                <c:pt idx="4">
                  <c:v>3.5086445608214598E-2</c:v>
                </c:pt>
                <c:pt idx="5">
                  <c:v>0.12366001487517939</c:v>
                </c:pt>
                <c:pt idx="6">
                  <c:v>0.14971069932300879</c:v>
                </c:pt>
                <c:pt idx="7">
                  <c:v>0.1647679430192327</c:v>
                </c:pt>
                <c:pt idx="8">
                  <c:v>0.16299902679493175</c:v>
                </c:pt>
                <c:pt idx="9">
                  <c:v>0.19665703144981761</c:v>
                </c:pt>
                <c:pt idx="10">
                  <c:v>4.642781199253801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6340458942784401E-3</c:v>
                </c:pt>
                <c:pt idx="1">
                  <c:v>3.8566578448540174E-6</c:v>
                </c:pt>
                <c:pt idx="2">
                  <c:v>2.1473495231655787E-2</c:v>
                </c:pt>
                <c:pt idx="3">
                  <c:v>7.7027599671002046E-3</c:v>
                </c:pt>
                <c:pt idx="4">
                  <c:v>1.1532596509669556E-2</c:v>
                </c:pt>
                <c:pt idx="5">
                  <c:v>5.1033938664164412E-2</c:v>
                </c:pt>
                <c:pt idx="6">
                  <c:v>5.6864616809613855E-2</c:v>
                </c:pt>
                <c:pt idx="7">
                  <c:v>6.9391204270712645E-2</c:v>
                </c:pt>
                <c:pt idx="8">
                  <c:v>0.11028911986485068</c:v>
                </c:pt>
                <c:pt idx="9">
                  <c:v>0.17365204236203063</c:v>
                </c:pt>
                <c:pt idx="10">
                  <c:v>2.015579545358641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6.7867160776327196E-6</c:v>
                </c:pt>
                <c:pt idx="3">
                  <c:v>1.9408505388064049E-6</c:v>
                </c:pt>
                <c:pt idx="4">
                  <c:v>3.1405966905818689E-3</c:v>
                </c:pt>
                <c:pt idx="5">
                  <c:v>1.7672683795853877E-2</c:v>
                </c:pt>
                <c:pt idx="6">
                  <c:v>2.127501509042598E-2</c:v>
                </c:pt>
                <c:pt idx="7">
                  <c:v>3.281277050604384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6766958469579996E-3</c:v>
                </c:pt>
                <c:pt idx="1">
                  <c:v>3.4308227150235131E-3</c:v>
                </c:pt>
                <c:pt idx="2">
                  <c:v>1.3627087281451152E-2</c:v>
                </c:pt>
                <c:pt idx="3">
                  <c:v>7.9725131487615359E-4</c:v>
                </c:pt>
                <c:pt idx="4">
                  <c:v>1.680726480140829E-3</c:v>
                </c:pt>
                <c:pt idx="5">
                  <c:v>1.0681978065784416E-2</c:v>
                </c:pt>
                <c:pt idx="6">
                  <c:v>2.8043387000062883E-2</c:v>
                </c:pt>
                <c:pt idx="7">
                  <c:v>5.3127966136139971E-3</c:v>
                </c:pt>
                <c:pt idx="8">
                  <c:v>1.476432552426067E-2</c:v>
                </c:pt>
                <c:pt idx="9">
                  <c:v>2.6973690356003827E-3</c:v>
                </c:pt>
                <c:pt idx="10">
                  <c:v>1.025156002435905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9.2315992405589582E-3</c:v>
                </c:pt>
                <c:pt idx="1">
                  <c:v>1.4580858801069756E-2</c:v>
                </c:pt>
                <c:pt idx="2">
                  <c:v>1.3820646427443857E-2</c:v>
                </c:pt>
                <c:pt idx="3">
                  <c:v>3.1703179992200035E-2</c:v>
                </c:pt>
                <c:pt idx="4">
                  <c:v>1.8732525927822347E-2</c:v>
                </c:pt>
                <c:pt idx="5">
                  <c:v>4.4271414349376689E-2</c:v>
                </c:pt>
                <c:pt idx="6">
                  <c:v>4.352768042290607E-2</c:v>
                </c:pt>
                <c:pt idx="7">
                  <c:v>5.7251171628862195E-2</c:v>
                </c:pt>
                <c:pt idx="8">
                  <c:v>3.7945581405820404E-2</c:v>
                </c:pt>
                <c:pt idx="9">
                  <c:v>2.030762005218659E-2</c:v>
                </c:pt>
                <c:pt idx="10">
                  <c:v>1.602045651459255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6872184253652326E-3</c:v>
                </c:pt>
                <c:pt idx="1">
                  <c:v>6.4377750810823645E-3</c:v>
                </c:pt>
                <c:pt idx="2">
                  <c:v>2.3401097734032036E-2</c:v>
                </c:pt>
                <c:pt idx="3">
                  <c:v>9.0467878237250693E-2</c:v>
                </c:pt>
                <c:pt idx="4">
                  <c:v>2.6029595140876296E-2</c:v>
                </c:pt>
                <c:pt idx="5">
                  <c:v>0.11858627354648475</c:v>
                </c:pt>
                <c:pt idx="6">
                  <c:v>0.12647657415686708</c:v>
                </c:pt>
                <c:pt idx="7">
                  <c:v>0.19717935221122623</c:v>
                </c:pt>
                <c:pt idx="8">
                  <c:v>0.14705443469514709</c:v>
                </c:pt>
                <c:pt idx="9">
                  <c:v>0.12556180470126249</c:v>
                </c:pt>
                <c:pt idx="10">
                  <c:v>0.1341179960704057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1.6440241072721144E-3</c:v>
                </c:pt>
                <c:pt idx="3">
                  <c:v>8.3105556641202921E-2</c:v>
                </c:pt>
                <c:pt idx="4">
                  <c:v>2.773710780301409E-3</c:v>
                </c:pt>
                <c:pt idx="5">
                  <c:v>2.1370621553664488E-7</c:v>
                </c:pt>
                <c:pt idx="6">
                  <c:v>3.3712422633675153E-2</c:v>
                </c:pt>
                <c:pt idx="7">
                  <c:v>8.9253011828478751E-2</c:v>
                </c:pt>
                <c:pt idx="8">
                  <c:v>9.453996113004498E-2</c:v>
                </c:pt>
                <c:pt idx="9">
                  <c:v>0.11749617594988361</c:v>
                </c:pt>
                <c:pt idx="10">
                  <c:v>9.161740397062230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4900335880278075E-4</c:v>
                </c:pt>
                <c:pt idx="1">
                  <c:v>2.5669678256209994E-3</c:v>
                </c:pt>
                <c:pt idx="2">
                  <c:v>6.9857000088670274E-4</c:v>
                </c:pt>
                <c:pt idx="3">
                  <c:v>5.2194003286053624E-3</c:v>
                </c:pt>
                <c:pt idx="4">
                  <c:v>1.6969502324348941E-2</c:v>
                </c:pt>
                <c:pt idx="5">
                  <c:v>7.1178826458318301E-2</c:v>
                </c:pt>
                <c:pt idx="6">
                  <c:v>1.5141958004484733E-2</c:v>
                </c:pt>
                <c:pt idx="7">
                  <c:v>3.2898255379034416E-2</c:v>
                </c:pt>
                <c:pt idx="8">
                  <c:v>2.4180270595878645E-2</c:v>
                </c:pt>
                <c:pt idx="9">
                  <c:v>5.3061294344106504E-3</c:v>
                </c:pt>
                <c:pt idx="10">
                  <c:v>3.221516126992282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6195013190392843E-3</c:v>
                </c:pt>
                <c:pt idx="5">
                  <c:v>3.440762676166715E-2</c:v>
                </c:pt>
                <c:pt idx="6">
                  <c:v>1.8093632635774282E-2</c:v>
                </c:pt>
                <c:pt idx="7">
                  <c:v>3.96991173203135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4382150665624514E-3</c:v>
                </c:pt>
                <c:pt idx="1">
                  <c:v>3.8708072554613647E-3</c:v>
                </c:pt>
                <c:pt idx="2">
                  <c:v>2.1058503625873217E-2</c:v>
                </c:pt>
                <c:pt idx="3">
                  <c:v>2.1429212674424119E-3</c:v>
                </c:pt>
                <c:pt idx="4">
                  <c:v>4.6668807171866616E-3</c:v>
                </c:pt>
                <c:pt idx="5">
                  <c:v>1.2999606620283752E-2</c:v>
                </c:pt>
                <c:pt idx="6">
                  <c:v>5.9528560882932929E-2</c:v>
                </c:pt>
                <c:pt idx="7">
                  <c:v>3.5328967683399513E-2</c:v>
                </c:pt>
                <c:pt idx="8">
                  <c:v>2.8334202969223475E-2</c:v>
                </c:pt>
                <c:pt idx="9">
                  <c:v>2.759499316968222E-3</c:v>
                </c:pt>
                <c:pt idx="10">
                  <c:v>1.028543082986059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4366118400716372E-2</c:v>
                </c:pt>
                <c:pt idx="1">
                  <c:v>1.7979971027474409E-2</c:v>
                </c:pt>
                <c:pt idx="2">
                  <c:v>1.1086532584295801E-2</c:v>
                </c:pt>
                <c:pt idx="3">
                  <c:v>1.3960396047619254E-2</c:v>
                </c:pt>
                <c:pt idx="4">
                  <c:v>2.7231768358389325E-2</c:v>
                </c:pt>
                <c:pt idx="5">
                  <c:v>0.14762693303421914</c:v>
                </c:pt>
                <c:pt idx="6">
                  <c:v>0.13467382647792436</c:v>
                </c:pt>
                <c:pt idx="7">
                  <c:v>0.15483900827319605</c:v>
                </c:pt>
                <c:pt idx="8">
                  <c:v>0.26165380079754724</c:v>
                </c:pt>
                <c:pt idx="9">
                  <c:v>0.18614307658344179</c:v>
                </c:pt>
                <c:pt idx="10">
                  <c:v>2.043856841517618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9713088181788768E-4</c:v>
                </c:pt>
                <c:pt idx="2">
                  <c:v>4.3850338175157249E-8</c:v>
                </c:pt>
                <c:pt idx="4">
                  <c:v>5.4322203703737184E-3</c:v>
                </c:pt>
                <c:pt idx="5">
                  <c:v>2.4861961159286367E-2</c:v>
                </c:pt>
                <c:pt idx="6">
                  <c:v>4.6146567879905231E-2</c:v>
                </c:pt>
                <c:pt idx="7">
                  <c:v>2.2198154308233661E-3</c:v>
                </c:pt>
                <c:pt idx="8">
                  <c:v>0.15182980242764646</c:v>
                </c:pt>
                <c:pt idx="9">
                  <c:v>0.11946298069449059</c:v>
                </c:pt>
                <c:pt idx="10">
                  <c:v>1.342615725832250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3.1681801869492382E-3</c:v>
                </c:pt>
                <c:pt idx="3">
                  <c:v>1.3360557152412469E-3</c:v>
                </c:pt>
                <c:pt idx="4">
                  <c:v>3.9821065524359512E-3</c:v>
                </c:pt>
                <c:pt idx="5">
                  <c:v>9.1831688531884476E-2</c:v>
                </c:pt>
                <c:pt idx="6">
                  <c:v>4.2687066284737868E-2</c:v>
                </c:pt>
                <c:pt idx="7">
                  <c:v>1.0755297249029471E-2</c:v>
                </c:pt>
                <c:pt idx="8">
                  <c:v>4.9829061937105013E-3</c:v>
                </c:pt>
                <c:pt idx="10">
                  <c:v>3.279330674914452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5.4336809239452447E-3</c:v>
                </c:pt>
                <c:pt idx="6">
                  <c:v>1.2468830167694218E-2</c:v>
                </c:pt>
                <c:pt idx="7">
                  <c:v>7.1521800620634748E-2</c:v>
                </c:pt>
                <c:pt idx="8">
                  <c:v>3.961723566010963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4168987518898486E-2</c:v>
                </c:pt>
                <c:pt idx="1">
                  <c:v>1.7979971027474409E-2</c:v>
                </c:pt>
                <c:pt idx="2">
                  <c:v>7.9183085470083854E-3</c:v>
                </c:pt>
                <c:pt idx="3">
                  <c:v>7.1906594084327619E-3</c:v>
                </c:pt>
                <c:pt idx="4">
                  <c:v>1.7817441435579659E-2</c:v>
                </c:pt>
                <c:pt idx="5">
                  <c:v>3.0933283343048318E-2</c:v>
                </c:pt>
                <c:pt idx="6">
                  <c:v>3.3371362145587058E-2</c:v>
                </c:pt>
                <c:pt idx="7">
                  <c:v>7.0342094972708491E-2</c:v>
                </c:pt>
                <c:pt idx="8">
                  <c:v>6.5223856516080647E-2</c:v>
                </c:pt>
                <c:pt idx="9">
                  <c:v>6.6680095888951185E-2</c:v>
                </c:pt>
                <c:pt idx="10">
                  <c:v>6.979617850104540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365898334756715E-2</c:v>
                </c:pt>
                <c:pt idx="1">
                  <c:v>2.0705941386764733E-2</c:v>
                </c:pt>
                <c:pt idx="2">
                  <c:v>1.6278733415296599E-2</c:v>
                </c:pt>
                <c:pt idx="3">
                  <c:v>1.7548824161276975E-2</c:v>
                </c:pt>
                <c:pt idx="4">
                  <c:v>5.7701549538145838E-2</c:v>
                </c:pt>
                <c:pt idx="5">
                  <c:v>0.14579996000114004</c:v>
                </c:pt>
                <c:pt idx="6">
                  <c:v>0.1286472547711171</c:v>
                </c:pt>
                <c:pt idx="7">
                  <c:v>0.1797236450590925</c:v>
                </c:pt>
                <c:pt idx="8">
                  <c:v>0.24907140238754868</c:v>
                </c:pt>
                <c:pt idx="9">
                  <c:v>0.15553268833943143</c:v>
                </c:pt>
                <c:pt idx="10">
                  <c:v>5.6241026054294277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0159928628019147E-7</c:v>
                </c:pt>
                <c:pt idx="1">
                  <c:v>2.3162471189639019E-7</c:v>
                </c:pt>
                <c:pt idx="2">
                  <c:v>2.8805964401529397E-3</c:v>
                </c:pt>
                <c:pt idx="3">
                  <c:v>3.305048724703075E-3</c:v>
                </c:pt>
                <c:pt idx="4">
                  <c:v>1.7550118633459153E-3</c:v>
                </c:pt>
                <c:pt idx="5">
                  <c:v>2.1578329734128375E-3</c:v>
                </c:pt>
                <c:pt idx="6">
                  <c:v>2.3843362055684073E-3</c:v>
                </c:pt>
                <c:pt idx="7">
                  <c:v>5.7335995141645935E-3</c:v>
                </c:pt>
                <c:pt idx="8">
                  <c:v>6.7972502166184327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4375916424244955E-3</c:v>
                </c:pt>
                <c:pt idx="1">
                  <c:v>1.5459962969385226E-3</c:v>
                </c:pt>
                <c:pt idx="2">
                  <c:v>9.0189987424751251E-3</c:v>
                </c:pt>
                <c:pt idx="3">
                  <c:v>2.8217122911730575E-3</c:v>
                </c:pt>
                <c:pt idx="4">
                  <c:v>1.0145338244269071E-2</c:v>
                </c:pt>
                <c:pt idx="5">
                  <c:v>3.2002445476550817E-2</c:v>
                </c:pt>
                <c:pt idx="6">
                  <c:v>3.5358824811018041E-2</c:v>
                </c:pt>
                <c:pt idx="7">
                  <c:v>5.0030530281701201E-2</c:v>
                </c:pt>
                <c:pt idx="8">
                  <c:v>7.5155446132228909E-2</c:v>
                </c:pt>
                <c:pt idx="9">
                  <c:v>0.10334522445991616</c:v>
                </c:pt>
                <c:pt idx="10">
                  <c:v>1.54351576784797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41548435047794E-7</c:v>
                </c:pt>
                <c:pt idx="2">
                  <c:v>2.1067640137861997E-3</c:v>
                </c:pt>
                <c:pt idx="3">
                  <c:v>6.2980474903235128E-5</c:v>
                </c:pt>
                <c:pt idx="4">
                  <c:v>4.4969980708149324E-3</c:v>
                </c:pt>
                <c:pt idx="5">
                  <c:v>1.7708035214814292E-2</c:v>
                </c:pt>
                <c:pt idx="6">
                  <c:v>6.141443449002454E-3</c:v>
                </c:pt>
                <c:pt idx="7">
                  <c:v>4.1019535459826057E-3</c:v>
                </c:pt>
                <c:pt idx="8">
                  <c:v>1.0982056779915682E-3</c:v>
                </c:pt>
                <c:pt idx="10">
                  <c:v>6.5841469029807213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Apericub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1446732582999091E-7</c:v>
                </c:pt>
                <c:pt idx="1">
                  <c:v>1.8337814227767542E-4</c:v>
                </c:pt>
                <c:pt idx="2">
                  <c:v>1.5481924423550219E-3</c:v>
                </c:pt>
                <c:pt idx="3">
                  <c:v>6.3462039836653791E-3</c:v>
                </c:pt>
                <c:pt idx="4">
                  <c:v>1.3772328161122062E-2</c:v>
                </c:pt>
                <c:pt idx="5">
                  <c:v>5.3123556608088748E-5</c:v>
                </c:pt>
                <c:pt idx="6">
                  <c:v>1.296883919293955E-4</c:v>
                </c:pt>
                <c:pt idx="7">
                  <c:v>1.5682408479736093E-3</c:v>
                </c:pt>
                <c:pt idx="8">
                  <c:v>2.426097283254023E-3</c:v>
                </c:pt>
                <c:pt idx="9">
                  <c:v>1.9402858967839276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509117928230533E-2</c:v>
                </c:pt>
                <c:pt idx="1">
                  <c:v>2.3982542771454705E-2</c:v>
                </c:pt>
                <c:pt idx="2">
                  <c:v>1.8034673241399884E-2</c:v>
                </c:pt>
                <c:pt idx="3">
                  <c:v>3.5019520344168928E-2</c:v>
                </c:pt>
                <c:pt idx="4">
                  <c:v>4.1999638270829559E-2</c:v>
                </c:pt>
                <c:pt idx="5">
                  <c:v>6.3468315150607579E-2</c:v>
                </c:pt>
                <c:pt idx="6">
                  <c:v>9.5086353681687233E-2</c:v>
                </c:pt>
                <c:pt idx="7">
                  <c:v>0.12272455636211188</c:v>
                </c:pt>
                <c:pt idx="8">
                  <c:v>0.11019879808564406</c:v>
                </c:pt>
                <c:pt idx="9">
                  <c:v>3.379334630220112E-2</c:v>
                </c:pt>
                <c:pt idx="10">
                  <c:v>9.927160633702221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3.8225773745351076E-5</c:v>
                </c:pt>
                <c:pt idx="2">
                  <c:v>4.0164702922471991E-4</c:v>
                </c:pt>
                <c:pt idx="3">
                  <c:v>4.9040371330939954E-4</c:v>
                </c:pt>
                <c:pt idx="4">
                  <c:v>2.0178929380227327E-2</c:v>
                </c:pt>
                <c:pt idx="5">
                  <c:v>2.1434278531619246E-2</c:v>
                </c:pt>
                <c:pt idx="6">
                  <c:v>2.8178332837032982E-2</c:v>
                </c:pt>
                <c:pt idx="7">
                  <c:v>2.3025306076452531E-2</c:v>
                </c:pt>
                <c:pt idx="8">
                  <c:v>0.10714444829909844</c:v>
                </c:pt>
                <c:pt idx="9">
                  <c:v>0.10232818507711655</c:v>
                </c:pt>
                <c:pt idx="10">
                  <c:v>5.571995163446611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6.756564186376998E-7</c:v>
                </c:pt>
                <c:pt idx="2">
                  <c:v>1.0056265390634238E-2</c:v>
                </c:pt>
                <c:pt idx="3">
                  <c:v>3.0062615741991957E-4</c:v>
                </c:pt>
                <c:pt idx="4">
                  <c:v>2.146562489455665E-2</c:v>
                </c:pt>
                <c:pt idx="5">
                  <c:v>8.4526174028782805E-2</c:v>
                </c:pt>
                <c:pt idx="6">
                  <c:v>2.9315094049735521E-2</c:v>
                </c:pt>
                <c:pt idx="7">
                  <c:v>1.9579949727886542E-2</c:v>
                </c:pt>
                <c:pt idx="8">
                  <c:v>5.2420905612190578E-3</c:v>
                </c:pt>
                <c:pt idx="10">
                  <c:v>3.1428260685117249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1.1561914533476032E-3</c:v>
                </c:pt>
                <c:pt idx="3">
                  <c:v>7.8647021362536103E-3</c:v>
                </c:pt>
                <c:pt idx="5">
                  <c:v>4.1943931491551263E-4</c:v>
                </c:pt>
                <c:pt idx="6">
                  <c:v>3.0147891771798805E-2</c:v>
                </c:pt>
                <c:pt idx="7">
                  <c:v>4.640047933113782E-2</c:v>
                </c:pt>
                <c:pt idx="8">
                  <c:v>5.2855946448045546E-2</c:v>
                </c:pt>
                <c:pt idx="9">
                  <c:v>3.1018771946548947E-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332699690459273E-2</c:v>
                </c:pt>
                <c:pt idx="1">
                  <c:v>2.0705941386764733E-2</c:v>
                </c:pt>
                <c:pt idx="2">
                  <c:v>4.6646295420900369E-3</c:v>
                </c:pt>
                <c:pt idx="3">
                  <c:v>8.8930921542940463E-3</c:v>
                </c:pt>
                <c:pt idx="4">
                  <c:v>1.6056995263361861E-2</c:v>
                </c:pt>
                <c:pt idx="5">
                  <c:v>3.9420068125822459E-2</c:v>
                </c:pt>
                <c:pt idx="6">
                  <c:v>4.1005936112549782E-2</c:v>
                </c:pt>
                <c:pt idx="7">
                  <c:v>9.0717909923615614E-2</c:v>
                </c:pt>
                <c:pt idx="8">
                  <c:v>8.3828917079185619E-2</c:v>
                </c:pt>
                <c:pt idx="9">
                  <c:v>5.3173484490368329E-2</c:v>
                </c:pt>
                <c:pt idx="10">
                  <c:v>2.0679181297699296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352154506864178E-2</c:v>
                </c:pt>
                <c:pt idx="1">
                  <c:v>1.8944882812584778E-3</c:v>
                </c:pt>
                <c:pt idx="2">
                  <c:v>4.1063764779702226E-3</c:v>
                </c:pt>
                <c:pt idx="3">
                  <c:v>1.662843254070168E-2</c:v>
                </c:pt>
                <c:pt idx="4">
                  <c:v>7.2937955575104685E-2</c:v>
                </c:pt>
                <c:pt idx="5">
                  <c:v>0.15797971891225537</c:v>
                </c:pt>
                <c:pt idx="6">
                  <c:v>9.598337906718378E-2</c:v>
                </c:pt>
                <c:pt idx="7">
                  <c:v>0.21068997706434744</c:v>
                </c:pt>
                <c:pt idx="8">
                  <c:v>0.19968366113881508</c:v>
                </c:pt>
                <c:pt idx="9">
                  <c:v>0.15604544109593402</c:v>
                </c:pt>
                <c:pt idx="10">
                  <c:v>4.269841533956509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aprice Des Dieux</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099638059920146E-5</c:v>
                </c:pt>
                <c:pt idx="1">
                  <c:v>4.9652516784552209E-5</c:v>
                </c:pt>
                <c:pt idx="2">
                  <c:v>2.1346000392107782E-3</c:v>
                </c:pt>
                <c:pt idx="3">
                  <c:v>5.4010073745683141E-3</c:v>
                </c:pt>
                <c:pt idx="4">
                  <c:v>2.3980718714754611E-2</c:v>
                </c:pt>
                <c:pt idx="5">
                  <c:v>8.6490681170313916E-2</c:v>
                </c:pt>
                <c:pt idx="6">
                  <c:v>2.5858857114332695E-3</c:v>
                </c:pt>
                <c:pt idx="7">
                  <c:v>5.5749069346889751E-2</c:v>
                </c:pt>
                <c:pt idx="8">
                  <c:v>2.9218058468430861E-3</c:v>
                </c:pt>
                <c:pt idx="9">
                  <c:v>1.099638059920146E-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3.1349330655618196E-7</c:v>
                </c:pt>
                <c:pt idx="4">
                  <c:v>2.4970899380947178E-2</c:v>
                </c:pt>
                <c:pt idx="5">
                  <c:v>6.5450167948010269E-3</c:v>
                </c:pt>
                <c:pt idx="6">
                  <c:v>4.6032296080441418E-2</c:v>
                </c:pt>
                <c:pt idx="7">
                  <c:v>9.341690582588727E-3</c:v>
                </c:pt>
                <c:pt idx="8">
                  <c:v>7.5749001825254486E-2</c:v>
                </c:pt>
                <c:pt idx="9">
                  <c:v>7.3772522986896696E-2</c:v>
                </c:pt>
                <c:pt idx="10">
                  <c:v>4.269841533956509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0309372075318455E-2</c:v>
                </c:pt>
                <c:pt idx="1">
                  <c:v>1.5883500099714985E-3</c:v>
                </c:pt>
                <c:pt idx="3">
                  <c:v>2.5332670656713012E-4</c:v>
                </c:pt>
                <c:pt idx="4">
                  <c:v>4.6541698588725477E-4</c:v>
                </c:pt>
                <c:pt idx="5">
                  <c:v>1.2628571442351353E-2</c:v>
                </c:pt>
                <c:pt idx="6">
                  <c:v>1.7162625135073415E-2</c:v>
                </c:pt>
                <c:pt idx="7">
                  <c:v>5.8732633375124403E-2</c:v>
                </c:pt>
                <c:pt idx="8">
                  <c:v>7.4166487613758882E-3</c:v>
                </c:pt>
                <c:pt idx="9">
                  <c:v>7.049000691855612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103178605094652E-2</c:v>
                </c:pt>
                <c:pt idx="1">
                  <c:v>2.5648575450242704E-4</c:v>
                </c:pt>
                <c:pt idx="2">
                  <c:v>1.9714629454528881E-3</c:v>
                </c:pt>
                <c:pt idx="3">
                  <c:v>1.0974098459566237E-2</c:v>
                </c:pt>
                <c:pt idx="4">
                  <c:v>2.3520920493515632E-2</c:v>
                </c:pt>
                <c:pt idx="5">
                  <c:v>5.2315449504789092E-2</c:v>
                </c:pt>
                <c:pt idx="6">
                  <c:v>3.0202572140235685E-2</c:v>
                </c:pt>
                <c:pt idx="7">
                  <c:v>8.6866583759744515E-2</c:v>
                </c:pt>
                <c:pt idx="8">
                  <c:v>0.11359620470534162</c:v>
                </c:pt>
                <c:pt idx="9">
                  <c:v>1.177191480988198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61116322273985E-2</c:v>
                </c:pt>
                <c:pt idx="1">
                  <c:v>2.3450659593645454E-2</c:v>
                </c:pt>
                <c:pt idx="2">
                  <c:v>4.2418163511807661E-2</c:v>
                </c:pt>
                <c:pt idx="3">
                  <c:v>2.0666175437598685E-2</c:v>
                </c:pt>
                <c:pt idx="4">
                  <c:v>5.0223009271810573E-2</c:v>
                </c:pt>
                <c:pt idx="5">
                  <c:v>7.2486072766880225E-2</c:v>
                </c:pt>
                <c:pt idx="6">
                  <c:v>0.14481255446315666</c:v>
                </c:pt>
                <c:pt idx="7">
                  <c:v>0.16464962829241298</c:v>
                </c:pt>
                <c:pt idx="8">
                  <c:v>0.37080110599668015</c:v>
                </c:pt>
                <c:pt idx="9">
                  <c:v>7.1442598795916912E-2</c:v>
                </c:pt>
                <c:pt idx="10">
                  <c:v>2.938399642692222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4026953427596778E-4</c:v>
                </c:pt>
                <c:pt idx="1">
                  <c:v>1.1616987661786514E-3</c:v>
                </c:pt>
                <c:pt idx="2">
                  <c:v>1.8942375567857307E-2</c:v>
                </c:pt>
                <c:pt idx="3">
                  <c:v>2.6785878801813978E-4</c:v>
                </c:pt>
                <c:pt idx="4">
                  <c:v>9.5626644052705895E-4</c:v>
                </c:pt>
                <c:pt idx="5">
                  <c:v>4.4772201259660138E-2</c:v>
                </c:pt>
                <c:pt idx="6">
                  <c:v>1.6746882082728166E-2</c:v>
                </c:pt>
                <c:pt idx="7">
                  <c:v>9.1466664264135092E-2</c:v>
                </c:pt>
                <c:pt idx="8">
                  <c:v>0.18740549520159638</c:v>
                </c:pt>
                <c:pt idx="9">
                  <c:v>6.9317613526885161E-2</c:v>
                </c:pt>
                <c:pt idx="10">
                  <c:v>2.5421506123166266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6526153264520981E-4</c:v>
                </c:pt>
                <c:pt idx="4">
                  <c:v>3.5545329008789726E-2</c:v>
                </c:pt>
                <c:pt idx="5">
                  <c:v>3.333909458024299E-6</c:v>
                </c:pt>
                <c:pt idx="6">
                  <c:v>8.0993148012353439E-2</c:v>
                </c:pt>
                <c:pt idx="7">
                  <c:v>1.8433696394419587E-2</c:v>
                </c:pt>
                <c:pt idx="8">
                  <c:v>0.1061451184704229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2.3927200276801803E-3</c:v>
                </c:pt>
                <c:pt idx="6">
                  <c:v>2.0531881397242643E-2</c:v>
                </c:pt>
                <c:pt idx="7">
                  <c:v>5.2946351909761071E-3</c:v>
                </c:pt>
                <c:pt idx="8">
                  <c:v>5.191896702863761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5306101160477325E-2</c:v>
                </c:pt>
                <c:pt idx="1">
                  <c:v>2.2288960827466803E-2</c:v>
                </c:pt>
                <c:pt idx="2">
                  <c:v>2.3475787943950353E-2</c:v>
                </c:pt>
                <c:pt idx="3">
                  <c:v>1.8005596621900367E-2</c:v>
                </c:pt>
                <c:pt idx="4">
                  <c:v>1.372141382249379E-2</c:v>
                </c:pt>
                <c:pt idx="5">
                  <c:v>2.7710537597762059E-2</c:v>
                </c:pt>
                <c:pt idx="6">
                  <c:v>2.6540642970832432E-2</c:v>
                </c:pt>
                <c:pt idx="7">
                  <c:v>4.9454632442882174E-2</c:v>
                </c:pt>
                <c:pt idx="8">
                  <c:v>2.533152529602313E-2</c:v>
                </c:pt>
                <c:pt idx="9">
                  <c:v>2.1249852690317585E-3</c:v>
                </c:pt>
                <c:pt idx="10">
                  <c:v>3.9624903037559635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7058601382366944E-2</c:v>
                </c:pt>
                <c:pt idx="1">
                  <c:v>4.4075340366481537E-2</c:v>
                </c:pt>
                <c:pt idx="2">
                  <c:v>3.9148147102293938E-2</c:v>
                </c:pt>
                <c:pt idx="3">
                  <c:v>2.4302963422487257E-2</c:v>
                </c:pt>
                <c:pt idx="4">
                  <c:v>6.8264835910008606E-2</c:v>
                </c:pt>
                <c:pt idx="5">
                  <c:v>8.1085129025960004E-2</c:v>
                </c:pt>
                <c:pt idx="6">
                  <c:v>0.17391019501158081</c:v>
                </c:pt>
                <c:pt idx="7">
                  <c:v>0.21549263910120092</c:v>
                </c:pt>
                <c:pt idx="8">
                  <c:v>0.18617788954780065</c:v>
                </c:pt>
                <c:pt idx="9">
                  <c:v>9.8373163005540581E-2</c:v>
                </c:pt>
                <c:pt idx="10">
                  <c:v>1.211109612427878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5.8471293157413735E-3</c:v>
                </c:pt>
                <c:pt idx="1">
                  <c:v>1.092006253138679E-2</c:v>
                </c:pt>
                <c:pt idx="2">
                  <c:v>9.7703092868681816E-3</c:v>
                </c:pt>
                <c:pt idx="3">
                  <c:v>5.6818865986670236E-4</c:v>
                </c:pt>
                <c:pt idx="4">
                  <c:v>1.2979075352347186E-2</c:v>
                </c:pt>
                <c:pt idx="5">
                  <c:v>5.1461671621167847E-2</c:v>
                </c:pt>
                <c:pt idx="6">
                  <c:v>2.6026577204275821E-2</c:v>
                </c:pt>
                <c:pt idx="7">
                  <c:v>0.11304358006717868</c:v>
                </c:pt>
                <c:pt idx="8">
                  <c:v>6.842125233657842E-2</c:v>
                </c:pt>
                <c:pt idx="9">
                  <c:v>9.1647256663037982E-2</c:v>
                </c:pt>
                <c:pt idx="10">
                  <c:v>1.081169024282095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5.8932929382426877E-5</c:v>
                </c:pt>
                <c:pt idx="2">
                  <c:v>2.8693026863497596E-5</c:v>
                </c:pt>
                <c:pt idx="4">
                  <c:v>3.7624171272741688E-2</c:v>
                </c:pt>
                <c:pt idx="5">
                  <c:v>1.3659670309841923E-2</c:v>
                </c:pt>
                <c:pt idx="6">
                  <c:v>8.0220122225621637E-2</c:v>
                </c:pt>
                <c:pt idx="7">
                  <c:v>5.0437609606376867E-2</c:v>
                </c:pt>
                <c:pt idx="8">
                  <c:v>7.865077137684338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6.761514813472729E-3</c:v>
                </c:pt>
                <c:pt idx="4">
                  <c:v>7.3097457442948424E-6</c:v>
                </c:pt>
                <c:pt idx="5">
                  <c:v>1.7895228170680318E-5</c:v>
                </c:pt>
                <c:pt idx="6">
                  <c:v>2.2748960006682504E-2</c:v>
                </c:pt>
                <c:pt idx="7">
                  <c:v>3.1314526136026239E-3</c:v>
                </c:pt>
                <c:pt idx="8">
                  <c:v>2.661020428980163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5.1152539137243144E-2</c:v>
                </c:pt>
                <c:pt idx="1">
                  <c:v>3.3155277835094747E-2</c:v>
                </c:pt>
                <c:pt idx="2">
                  <c:v>2.9349144788562265E-2</c:v>
                </c:pt>
                <c:pt idx="3">
                  <c:v>1.6973259949147827E-2</c:v>
                </c:pt>
                <c:pt idx="4">
                  <c:v>1.7654279539175428E-2</c:v>
                </c:pt>
                <c:pt idx="5">
                  <c:v>1.5945891866779548E-2</c:v>
                </c:pt>
                <c:pt idx="6">
                  <c:v>4.491453557500083E-2</c:v>
                </c:pt>
                <c:pt idx="7">
                  <c:v>4.8879996814042766E-2</c:v>
                </c:pt>
                <c:pt idx="8">
                  <c:v>1.249566154457718E-2</c:v>
                </c:pt>
                <c:pt idx="9">
                  <c:v>6.72590634250259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0.16</c:v>
                </c:pt>
                <c:pt idx="2">
                  <c:v>3.2899999999999999E-2</c:v>
                </c:pt>
                <c:pt idx="4">
                  <c:v>3.0999999999999999E-3</c:v>
                </c:pt>
                <c:pt idx="5">
                  <c:v>0.21490000000000001</c:v>
                </c:pt>
                <c:pt idx="6">
                  <c:v>3.1600000000000003E-2</c:v>
                </c:pt>
                <c:pt idx="7">
                  <c:v>0.27050000000000002</c:v>
                </c:pt>
                <c:pt idx="8">
                  <c:v>0.2868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4165525822856861E-2</c:v>
                </c:pt>
                <c:pt idx="1">
                  <c:v>9.4537188852260035E-3</c:v>
                </c:pt>
                <c:pt idx="2">
                  <c:v>2.0219498100420973E-2</c:v>
                </c:pt>
                <c:pt idx="3">
                  <c:v>8.240412408021246E-3</c:v>
                </c:pt>
                <c:pt idx="4">
                  <c:v>5.5533695297342311E-2</c:v>
                </c:pt>
                <c:pt idx="5">
                  <c:v>9.3213785174338426E-2</c:v>
                </c:pt>
                <c:pt idx="6">
                  <c:v>0.21615012501036701</c:v>
                </c:pt>
                <c:pt idx="7">
                  <c:v>0.151632184131818</c:v>
                </c:pt>
                <c:pt idx="8">
                  <c:v>0.34844429515359976</c:v>
                </c:pt>
                <c:pt idx="9">
                  <c:v>8.294676001600942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3">
                  <c:v>3.1517237159222177E-3</c:v>
                </c:pt>
                <c:pt idx="4">
                  <c:v>4.2664254916507265E-2</c:v>
                </c:pt>
                <c:pt idx="5">
                  <c:v>2.363851662450068E-3</c:v>
                </c:pt>
                <c:pt idx="6">
                  <c:v>0.13061912267877912</c:v>
                </c:pt>
                <c:pt idx="7">
                  <c:v>1.8629309868748042E-2</c:v>
                </c:pt>
                <c:pt idx="8">
                  <c:v>0.1268464193505426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1">
                  <c:v>2.5154757217617264E-3</c:v>
                </c:pt>
                <c:pt idx="2">
                  <c:v>1.7887792465559889E-2</c:v>
                </c:pt>
                <c:pt idx="4">
                  <c:v>8.1499796271115744E-3</c:v>
                </c:pt>
                <c:pt idx="5">
                  <c:v>8.1816742758027902E-2</c:v>
                </c:pt>
                <c:pt idx="6">
                  <c:v>2.9206648206708926E-2</c:v>
                </c:pt>
                <c:pt idx="7">
                  <c:v>7.7167343859306056E-2</c:v>
                </c:pt>
                <c:pt idx="8">
                  <c:v>0.1235200316263531</c:v>
                </c:pt>
                <c:pt idx="9">
                  <c:v>8.294676001600942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6">
                  <c:v>2.2506262097199775E-2</c:v>
                </c:pt>
                <c:pt idx="7">
                  <c:v>4.2216487049919794E-3</c:v>
                </c:pt>
                <c:pt idx="8">
                  <c:v>6.9450609473375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4165525822856861E-2</c:v>
                </c:pt>
                <c:pt idx="1">
                  <c:v>6.938243163464277E-3</c:v>
                </c:pt>
                <c:pt idx="2">
                  <c:v>2.3317056348610837E-3</c:v>
                </c:pt>
                <c:pt idx="3">
                  <c:v>5.0886886920990283E-3</c:v>
                </c:pt>
                <c:pt idx="4">
                  <c:v>4.7194607537234734E-3</c:v>
                </c:pt>
                <c:pt idx="5">
                  <c:v>9.0331907538604584E-3</c:v>
                </c:pt>
                <c:pt idx="6">
                  <c:v>3.3818092027679179E-2</c:v>
                </c:pt>
                <c:pt idx="7">
                  <c:v>5.1613881698771936E-2</c:v>
                </c:pt>
                <c:pt idx="8">
                  <c:v>2.862723470332847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2137763780528942E-2</c:v>
                </c:pt>
                <c:pt idx="1">
                  <c:v>7.6010757588336045E-2</c:v>
                </c:pt>
                <c:pt idx="2">
                  <c:v>1.9801583306298543E-2</c:v>
                </c:pt>
                <c:pt idx="3">
                  <c:v>3.8623977412852312E-2</c:v>
                </c:pt>
                <c:pt idx="4">
                  <c:v>7.0418162902305612E-2</c:v>
                </c:pt>
                <c:pt idx="5">
                  <c:v>0.21572543411195483</c:v>
                </c:pt>
                <c:pt idx="6">
                  <c:v>0.35475670948466687</c:v>
                </c:pt>
                <c:pt idx="7">
                  <c:v>0.11896334298735282</c:v>
                </c:pt>
                <c:pt idx="8">
                  <c:v>3.931459111135447E-2</c:v>
                </c:pt>
                <c:pt idx="9">
                  <c:v>2.424767731434951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7.5069372932280362E-5</c:v>
                </c:pt>
                <c:pt idx="1">
                  <c:v>2.3305851073747173E-6</c:v>
                </c:pt>
                <c:pt idx="2">
                  <c:v>1.2417848101588783E-3</c:v>
                </c:pt>
                <c:pt idx="3">
                  <c:v>2.0887685031284794E-3</c:v>
                </c:pt>
                <c:pt idx="4">
                  <c:v>3.1903502197226574E-3</c:v>
                </c:pt>
                <c:pt idx="5">
                  <c:v>7.476247167235133E-3</c:v>
                </c:pt>
                <c:pt idx="6">
                  <c:v>0.20295954379017314</c:v>
                </c:pt>
                <c:pt idx="7">
                  <c:v>0.10730673757925707</c:v>
                </c:pt>
                <c:pt idx="9">
                  <c:v>1.206624867254778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1">
                  <c:v>5.7857511264821783E-2</c:v>
                </c:pt>
                <c:pt idx="4">
                  <c:v>2.3203550653770827E-3</c:v>
                </c:pt>
                <c:pt idx="5">
                  <c:v>0.1228202650802594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9.3137540633138035E-4</c:v>
                </c:pt>
                <c:pt idx="2">
                  <c:v>5.9809682948183292E-3</c:v>
                </c:pt>
                <c:pt idx="3">
                  <c:v>2.2406981196544965E-3</c:v>
                </c:pt>
                <c:pt idx="4">
                  <c:v>5.6405139690855491E-2</c:v>
                </c:pt>
                <c:pt idx="5">
                  <c:v>1.3637038502443532E-2</c:v>
                </c:pt>
                <c:pt idx="6">
                  <c:v>8.6067281391607575E-2</c:v>
                </c:pt>
                <c:pt idx="8">
                  <c:v>1.706331753245695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1131319001265286E-2</c:v>
                </c:pt>
                <c:pt idx="1">
                  <c:v>1.8150915738406884E-2</c:v>
                </c:pt>
                <c:pt idx="2">
                  <c:v>1.2578830201321339E-2</c:v>
                </c:pt>
                <c:pt idx="3">
                  <c:v>3.4294510790069337E-2</c:v>
                </c:pt>
                <c:pt idx="4">
                  <c:v>8.5023179263503702E-3</c:v>
                </c:pt>
                <c:pt idx="5">
                  <c:v>7.1791883362016695E-2</c:v>
                </c:pt>
                <c:pt idx="6">
                  <c:v>6.5729884302886177E-2</c:v>
                </c:pt>
                <c:pt idx="7">
                  <c:v>1.1656605408095756E-2</c:v>
                </c:pt>
                <c:pt idx="8">
                  <c:v>2.2251273578897519E-2</c:v>
                </c:pt>
                <c:pt idx="9">
                  <c:v>1.218142864180172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4077995271416671E-2</c:v>
                </c:pt>
                <c:pt idx="1">
                  <c:v>2.062966834660215E-2</c:v>
                </c:pt>
                <c:pt idx="2">
                  <c:v>8.0083321202325142E-2</c:v>
                </c:pt>
                <c:pt idx="3">
                  <c:v>2.8380127651671069E-2</c:v>
                </c:pt>
                <c:pt idx="4">
                  <c:v>0.14083598542271128</c:v>
                </c:pt>
                <c:pt idx="5">
                  <c:v>0.28115211531318079</c:v>
                </c:pt>
                <c:pt idx="6">
                  <c:v>0.22040258842250043</c:v>
                </c:pt>
                <c:pt idx="7">
                  <c:v>7.644417561014788E-2</c:v>
                </c:pt>
                <c:pt idx="8">
                  <c:v>8.2955703414418672E-2</c:v>
                </c:pt>
                <c:pt idx="9">
                  <c:v>1.503831934502595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5703903842099452E-3</c:v>
                </c:pt>
                <c:pt idx="1">
                  <c:v>1.3804250705271718E-5</c:v>
                </c:pt>
                <c:pt idx="2">
                  <c:v>7.2152308572690678E-3</c:v>
                </c:pt>
                <c:pt idx="4">
                  <c:v>4.8225463571837318E-3</c:v>
                </c:pt>
                <c:pt idx="5">
                  <c:v>2.9913968144809101E-2</c:v>
                </c:pt>
                <c:pt idx="6">
                  <c:v>0.12019831688535947</c:v>
                </c:pt>
                <c:pt idx="7">
                  <c:v>4.8305779212304355E-2</c:v>
                </c:pt>
                <c:pt idx="8">
                  <c:v>1.4731331633318944E-3</c:v>
                </c:pt>
                <c:pt idx="9">
                  <c:v>6.298973716706656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0092651620870016E-3</c:v>
                </c:pt>
                <c:pt idx="2">
                  <c:v>4.5795287981768351E-2</c:v>
                </c:pt>
                <c:pt idx="3">
                  <c:v>1.8224748260664411E-3</c:v>
                </c:pt>
                <c:pt idx="4">
                  <c:v>2.6213174023913981E-2</c:v>
                </c:pt>
                <c:pt idx="5">
                  <c:v>8.544140974027929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1">
                  <c:v>8.6260880259419516E-4</c:v>
                </c:pt>
                <c:pt idx="2">
                  <c:v>1.0020160480689108E-2</c:v>
                </c:pt>
                <c:pt idx="3">
                  <c:v>1.4463089943477869E-4</c:v>
                </c:pt>
                <c:pt idx="4">
                  <c:v>7.3316728492977407E-2</c:v>
                </c:pt>
                <c:pt idx="5">
                  <c:v>2.2879918078046724E-2</c:v>
                </c:pt>
                <c:pt idx="6">
                  <c:v>6.901042973887378E-2</c:v>
                </c:pt>
                <c:pt idx="8">
                  <c:v>2.063280567630788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549833972511972E-2</c:v>
                </c:pt>
                <c:pt idx="1">
                  <c:v>1.9753255293302682E-2</c:v>
                </c:pt>
                <c:pt idx="2">
                  <c:v>1.7052641882598613E-2</c:v>
                </c:pt>
                <c:pt idx="3">
                  <c:v>2.6413021926169847E-2</c:v>
                </c:pt>
                <c:pt idx="4">
                  <c:v>3.648353654863614E-2</c:v>
                </c:pt>
                <c:pt idx="5">
                  <c:v>0.14291681935004569</c:v>
                </c:pt>
                <c:pt idx="6">
                  <c:v>3.1193841798267188E-2</c:v>
                </c:pt>
                <c:pt idx="7">
                  <c:v>2.8138396397843525E-2</c:v>
                </c:pt>
                <c:pt idx="8">
                  <c:v>6.0849764574778878E-2</c:v>
                </c:pt>
                <c:pt idx="9">
                  <c:v>8.73934562831929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362066226389675E-2</c:v>
                </c:pt>
                <c:pt idx="1">
                  <c:v>1.1322501101184695E-2</c:v>
                </c:pt>
                <c:pt idx="2">
                  <c:v>1.391455219372234E-2</c:v>
                </c:pt>
                <c:pt idx="3">
                  <c:v>9.0043460856499752E-2</c:v>
                </c:pt>
                <c:pt idx="4">
                  <c:v>5.7044640694140274E-2</c:v>
                </c:pt>
                <c:pt idx="5">
                  <c:v>0.12465870549148711</c:v>
                </c:pt>
                <c:pt idx="6">
                  <c:v>0.11514928294657306</c:v>
                </c:pt>
                <c:pt idx="7">
                  <c:v>0.1871274516940177</c:v>
                </c:pt>
                <c:pt idx="8">
                  <c:v>0.21430449882698099</c:v>
                </c:pt>
                <c:pt idx="9">
                  <c:v>0.10899183968071161</c:v>
                </c:pt>
                <c:pt idx="10">
                  <c:v>6.382240425078571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0379942463993448E-2</c:v>
                </c:pt>
                <c:pt idx="1">
                  <c:v>9.152991779240488E-2</c:v>
                </c:pt>
                <c:pt idx="2">
                  <c:v>4.8661682695440873E-3</c:v>
                </c:pt>
                <c:pt idx="3">
                  <c:v>4.1438958765861969E-2</c:v>
                </c:pt>
                <c:pt idx="4">
                  <c:v>0.12055059537663741</c:v>
                </c:pt>
                <c:pt idx="5">
                  <c:v>0.23404232341194106</c:v>
                </c:pt>
                <c:pt idx="6">
                  <c:v>0.1719810820120844</c:v>
                </c:pt>
                <c:pt idx="7">
                  <c:v>0.22892217743061699</c:v>
                </c:pt>
                <c:pt idx="8">
                  <c:v>4.438874975561162E-2</c:v>
                </c:pt>
                <c:pt idx="9">
                  <c:v>3.190008472130415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3">
                  <c:v>3.7381646200109857E-3</c:v>
                </c:pt>
                <c:pt idx="4">
                  <c:v>2.0456936440401821E-2</c:v>
                </c:pt>
                <c:pt idx="6">
                  <c:v>2.1934438744635094E-2</c:v>
                </c:pt>
                <c:pt idx="7">
                  <c:v>0.21666793903790116</c:v>
                </c:pt>
                <c:pt idx="8">
                  <c:v>4.7464412397240502E-3</c:v>
                </c:pt>
                <c:pt idx="9">
                  <c:v>1.844894843172487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2037314613959463E-3</c:v>
                </c:pt>
                <c:pt idx="1">
                  <c:v>7.9541946355587423E-2</c:v>
                </c:pt>
                <c:pt idx="4">
                  <c:v>2.6674549161631492E-2</c:v>
                </c:pt>
                <c:pt idx="5">
                  <c:v>0.1542851290836134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6.4451499380882779E-3</c:v>
                </c:pt>
                <c:pt idx="4">
                  <c:v>3.3661356844271073E-2</c:v>
                </c:pt>
                <c:pt idx="6">
                  <c:v>0.11889825064471982</c:v>
                </c:pt>
                <c:pt idx="8">
                  <c:v>2.37284821852510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3176211002597501E-2</c:v>
                </c:pt>
                <c:pt idx="1">
                  <c:v>1.1987971436817459E-2</c:v>
                </c:pt>
                <c:pt idx="2">
                  <c:v>4.8661682695440873E-3</c:v>
                </c:pt>
                <c:pt idx="3">
                  <c:v>3.1255644207762709E-2</c:v>
                </c:pt>
                <c:pt idx="4">
                  <c:v>3.9757752930333019E-2</c:v>
                </c:pt>
                <c:pt idx="5">
                  <c:v>7.9757194328327646E-2</c:v>
                </c:pt>
                <c:pt idx="6">
                  <c:v>3.1148392622729518E-2</c:v>
                </c:pt>
                <c:pt idx="7">
                  <c:v>1.2254238392715829E-2</c:v>
                </c:pt>
                <c:pt idx="8">
                  <c:v>1.5913826330636528E-2</c:v>
                </c:pt>
                <c:pt idx="9">
                  <c:v>1.34511362895792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0.26889999999999997</c:v>
                </c:pt>
                <c:pt idx="4">
                  <c:v>0.14979999999999999</c:v>
                </c:pt>
                <c:pt idx="5">
                  <c:v>0.15809999999999999</c:v>
                </c:pt>
                <c:pt idx="6">
                  <c:v>8.5999999999999993E-2</c:v>
                </c:pt>
                <c:pt idx="7">
                  <c:v>0.26860000000000001</c:v>
                </c:pt>
                <c:pt idx="8">
                  <c:v>6.8000000000000005E-2</c:v>
                </c:pt>
                <c:pt idx="9">
                  <c:v>5.0000000000000001E-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6704377507072776E-2</c:v>
                </c:pt>
                <c:pt idx="1">
                  <c:v>1.9033626479877733E-2</c:v>
                </c:pt>
                <c:pt idx="2">
                  <c:v>1.9827508280769839E-2</c:v>
                </c:pt>
                <c:pt idx="3">
                  <c:v>4.6176309521501771E-2</c:v>
                </c:pt>
                <c:pt idx="4">
                  <c:v>6.9141447185096516E-2</c:v>
                </c:pt>
                <c:pt idx="5">
                  <c:v>9.9088582204497205E-2</c:v>
                </c:pt>
                <c:pt idx="6">
                  <c:v>0.12890045057876501</c:v>
                </c:pt>
                <c:pt idx="7">
                  <c:v>0.17819960100478047</c:v>
                </c:pt>
                <c:pt idx="8">
                  <c:v>0.24263268612335279</c:v>
                </c:pt>
                <c:pt idx="9">
                  <c:v>9.1669505526999359E-2</c:v>
                </c:pt>
                <c:pt idx="10">
                  <c:v>8.862590558728655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9128423267046278E-8</c:v>
                </c:pt>
                <c:pt idx="2">
                  <c:v>2.5749800551793064E-8</c:v>
                </c:pt>
                <c:pt idx="3">
                  <c:v>7.0801533883836261E-3</c:v>
                </c:pt>
                <c:pt idx="4">
                  <c:v>3.9439041948682993E-3</c:v>
                </c:pt>
                <c:pt idx="5">
                  <c:v>4.1625207372616088E-3</c:v>
                </c:pt>
                <c:pt idx="6">
                  <c:v>2.2653011824060481E-3</c:v>
                </c:pt>
                <c:pt idx="7">
                  <c:v>7.0714205274536321E-3</c:v>
                </c:pt>
                <c:pt idx="8">
                  <c:v>1.7916093228724371E-3</c:v>
                </c:pt>
                <c:pt idx="9">
                  <c:v>1.32147976431802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3.3056637527228581E-4</c:v>
                </c:pt>
                <c:pt idx="1">
                  <c:v>2.422229295471721E-3</c:v>
                </c:pt>
                <c:pt idx="2">
                  <c:v>2.893465359741278E-3</c:v>
                </c:pt>
                <c:pt idx="3">
                  <c:v>4.5063372241892609E-3</c:v>
                </c:pt>
                <c:pt idx="4">
                  <c:v>1.895208569003325E-2</c:v>
                </c:pt>
                <c:pt idx="5">
                  <c:v>1.3879238139532797E-2</c:v>
                </c:pt>
                <c:pt idx="6">
                  <c:v>3.2546092553145244E-2</c:v>
                </c:pt>
                <c:pt idx="7">
                  <c:v>5.4797824635366692E-2</c:v>
                </c:pt>
                <c:pt idx="8">
                  <c:v>0.11617114114660547</c:v>
                </c:pt>
                <c:pt idx="9">
                  <c:v>6.3797939802453227E-2</c:v>
                </c:pt>
                <c:pt idx="10">
                  <c:v>7.450298016383463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6.9101281910487233E-4</c:v>
                </c:pt>
                <c:pt idx="3">
                  <c:v>2.9140755001029332E-4</c:v>
                </c:pt>
                <c:pt idx="4">
                  <c:v>8.6853856548621848E-4</c:v>
                </c:pt>
                <c:pt idx="5">
                  <c:v>2.0029439688114176E-2</c:v>
                </c:pt>
                <c:pt idx="6">
                  <c:v>9.3104900201832746E-3</c:v>
                </c:pt>
                <c:pt idx="7">
                  <c:v>2.3458414085719462E-3</c:v>
                </c:pt>
                <c:pt idx="8">
                  <c:v>1.0868233033067042E-3</c:v>
                </c:pt>
                <c:pt idx="10">
                  <c:v>7.1525588847009192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5.4165809023577501E-5</c:v>
                </c:pt>
                <c:pt idx="4">
                  <c:v>5.2711313146694789E-3</c:v>
                </c:pt>
                <c:pt idx="5">
                  <c:v>3.1237450903673766E-5</c:v>
                </c:pt>
                <c:pt idx="6">
                  <c:v>1.2010734762252595E-2</c:v>
                </c:pt>
                <c:pt idx="7">
                  <c:v>2.733592205201067E-3</c:v>
                </c:pt>
                <c:pt idx="8">
                  <c:v>1.574060146497428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6319626194353645E-2</c:v>
                </c:pt>
                <c:pt idx="1">
                  <c:v>1.6611397184406011E-2</c:v>
                </c:pt>
                <c:pt idx="2">
                  <c:v>1.6243004352123142E-2</c:v>
                </c:pt>
                <c:pt idx="3">
                  <c:v>3.4298411358918583E-2</c:v>
                </c:pt>
                <c:pt idx="4">
                  <c:v>4.0105787420039264E-2</c:v>
                </c:pt>
                <c:pt idx="5">
                  <c:v>6.0986146188684948E-2</c:v>
                </c:pt>
                <c:pt idx="6">
                  <c:v>7.2767832060777818E-2</c:v>
                </c:pt>
                <c:pt idx="7">
                  <c:v>0.11125092222818712</c:v>
                </c:pt>
                <c:pt idx="8">
                  <c:v>0.10784251088559392</c:v>
                </c:pt>
                <c:pt idx="9">
                  <c:v>2.7858350926902954E-2</c:v>
                </c:pt>
                <c:pt idx="10">
                  <c:v>1.411577286456721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0.2414</c:v>
                </c:pt>
                <c:pt idx="4">
                  <c:v>0.26279999999999998</c:v>
                </c:pt>
                <c:pt idx="5">
                  <c:v>0.1242</c:v>
                </c:pt>
                <c:pt idx="6">
                  <c:v>0.1134</c:v>
                </c:pt>
                <c:pt idx="7">
                  <c:v>0.14369999999999999</c:v>
                </c:pt>
                <c:pt idx="8">
                  <c:v>6.4399999999999999E-2</c:v>
                </c:pt>
                <c:pt idx="9">
                  <c:v>4.9799999999999997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947267185702188E-2</c:v>
                </c:pt>
                <c:pt idx="1">
                  <c:v>2.5712148835382798E-2</c:v>
                </c:pt>
                <c:pt idx="2">
                  <c:v>3.3589224880169175E-2</c:v>
                </c:pt>
                <c:pt idx="3">
                  <c:v>4.7555465818613675E-2</c:v>
                </c:pt>
                <c:pt idx="4">
                  <c:v>7.2169314610381535E-2</c:v>
                </c:pt>
                <c:pt idx="5">
                  <c:v>0.11538975237199359</c:v>
                </c:pt>
                <c:pt idx="6">
                  <c:v>0.13910064653920554</c:v>
                </c:pt>
                <c:pt idx="7">
                  <c:v>0.18415888055193388</c:v>
                </c:pt>
                <c:pt idx="8">
                  <c:v>0.19567579739573698</c:v>
                </c:pt>
                <c:pt idx="9">
                  <c:v>0.1373325993517957</c:v>
                </c:pt>
                <c:pt idx="10">
                  <c:v>2.536890245908493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7.2489956130536928E-7</c:v>
                </c:pt>
                <c:pt idx="1">
                  <c:v>2.0803330605509118E-6</c:v>
                </c:pt>
                <c:pt idx="2">
                  <c:v>3.2298779269996632E-6</c:v>
                </c:pt>
                <c:pt idx="3">
                  <c:v>6.9812717608735983E-3</c:v>
                </c:pt>
                <c:pt idx="4">
                  <c:v>7.5990963650850868E-3</c:v>
                </c:pt>
                <c:pt idx="5">
                  <c:v>3.5924220732757128E-3</c:v>
                </c:pt>
                <c:pt idx="6">
                  <c:v>3.2777212980458176E-3</c:v>
                </c:pt>
                <c:pt idx="7">
                  <c:v>4.1556947684890846E-3</c:v>
                </c:pt>
                <c:pt idx="8">
                  <c:v>1.8617436727184685E-3</c:v>
                </c:pt>
                <c:pt idx="9">
                  <c:v>1.4410703024494579E-3</c:v>
                </c:pt>
                <c:pt idx="10">
                  <c:v>1.2868039549799455E-8</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4375916424244955E-3</c:v>
                </c:pt>
                <c:pt idx="1">
                  <c:v>1.5459962969385226E-3</c:v>
                </c:pt>
                <c:pt idx="2">
                  <c:v>9.0189987424751251E-3</c:v>
                </c:pt>
                <c:pt idx="3">
                  <c:v>2.8217122911730575E-3</c:v>
                </c:pt>
                <c:pt idx="4">
                  <c:v>1.0145338244269071E-2</c:v>
                </c:pt>
                <c:pt idx="5">
                  <c:v>3.2002445476550817E-2</c:v>
                </c:pt>
                <c:pt idx="6">
                  <c:v>3.5358824811018041E-2</c:v>
                </c:pt>
                <c:pt idx="7">
                  <c:v>5.0030530281701201E-2</c:v>
                </c:pt>
                <c:pt idx="8">
                  <c:v>7.5155446132228909E-2</c:v>
                </c:pt>
                <c:pt idx="9">
                  <c:v>0.10334522445991616</c:v>
                </c:pt>
                <c:pt idx="10">
                  <c:v>1.54351576784797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41548435047794E-7</c:v>
                </c:pt>
                <c:pt idx="2">
                  <c:v>2.1067640137861997E-3</c:v>
                </c:pt>
                <c:pt idx="3">
                  <c:v>6.2980474903235128E-5</c:v>
                </c:pt>
                <c:pt idx="4">
                  <c:v>4.4969980708149324E-3</c:v>
                </c:pt>
                <c:pt idx="5">
                  <c:v>1.7708035214814292E-2</c:v>
                </c:pt>
                <c:pt idx="6">
                  <c:v>6.141443449002454E-3</c:v>
                </c:pt>
                <c:pt idx="7">
                  <c:v>4.1019535459826057E-3</c:v>
                </c:pt>
                <c:pt idx="8">
                  <c:v>1.0982056779915682E-3</c:v>
                </c:pt>
                <c:pt idx="10">
                  <c:v>6.5841469029807213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Apericub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1446732582999091E-7</c:v>
                </c:pt>
                <c:pt idx="1">
                  <c:v>1.8337814227767542E-4</c:v>
                </c:pt>
                <c:pt idx="2">
                  <c:v>1.5481924423550219E-3</c:v>
                </c:pt>
                <c:pt idx="3">
                  <c:v>6.3462039836653791E-3</c:v>
                </c:pt>
                <c:pt idx="4">
                  <c:v>1.3772328161122062E-2</c:v>
                </c:pt>
                <c:pt idx="5">
                  <c:v>5.3123556608088748E-5</c:v>
                </c:pt>
                <c:pt idx="6">
                  <c:v>1.296883919293955E-4</c:v>
                </c:pt>
                <c:pt idx="7">
                  <c:v>1.5682408479736093E-3</c:v>
                </c:pt>
                <c:pt idx="8">
                  <c:v>2.426097283254023E-3</c:v>
                </c:pt>
                <c:pt idx="9">
                  <c:v>1.9402858967839276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508594627955507E-2</c:v>
                </c:pt>
                <c:pt idx="1">
                  <c:v>2.3980694063106052E-2</c:v>
                </c:pt>
                <c:pt idx="2">
                  <c:v>2.0912039803625826E-2</c:v>
                </c:pt>
                <c:pt idx="3">
                  <c:v>3.1343297307998411E-2</c:v>
                </c:pt>
                <c:pt idx="4">
                  <c:v>3.6155553769090396E-2</c:v>
                </c:pt>
                <c:pt idx="5">
                  <c:v>6.2033726050744704E-2</c:v>
                </c:pt>
                <c:pt idx="6">
                  <c:v>9.4192968589209822E-2</c:v>
                </c:pt>
                <c:pt idx="7">
                  <c:v>0.12430246110778739</c:v>
                </c:pt>
                <c:pt idx="8">
                  <c:v>0.11513430462954402</c:v>
                </c:pt>
                <c:pt idx="9">
                  <c:v>3.2352275999751663E-2</c:v>
                </c:pt>
                <c:pt idx="10">
                  <c:v>9.927147765662671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32E-2</c:v>
                </c:pt>
                <c:pt idx="3">
                  <c:v>0.2707</c:v>
                </c:pt>
                <c:pt idx="4">
                  <c:v>0.31019999999999998</c:v>
                </c:pt>
                <c:pt idx="5">
                  <c:v>4.1000000000000003E-3</c:v>
                </c:pt>
                <c:pt idx="6">
                  <c:v>3.4200000000000001E-2</c:v>
                </c:pt>
                <c:pt idx="7">
                  <c:v>0.33479999999999999</c:v>
                </c:pt>
                <c:pt idx="8">
                  <c:v>1.2800000000000001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362066226389675E-2</c:v>
                </c:pt>
                <c:pt idx="1">
                  <c:v>1.1322501101184695E-2</c:v>
                </c:pt>
                <c:pt idx="2">
                  <c:v>1.391455219372234E-2</c:v>
                </c:pt>
                <c:pt idx="3">
                  <c:v>9.0043460856499752E-2</c:v>
                </c:pt>
                <c:pt idx="4">
                  <c:v>5.7044640694140274E-2</c:v>
                </c:pt>
                <c:pt idx="5">
                  <c:v>0.12465870549148711</c:v>
                </c:pt>
                <c:pt idx="6">
                  <c:v>0.11514928294657306</c:v>
                </c:pt>
                <c:pt idx="7">
                  <c:v>0.1871274516940177</c:v>
                </c:pt>
                <c:pt idx="8">
                  <c:v>0.21430449882698099</c:v>
                </c:pt>
                <c:pt idx="9">
                  <c:v>0.10899183968071161</c:v>
                </c:pt>
                <c:pt idx="10">
                  <c:v>6.382240425078571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850137861982709E-6</c:v>
                </c:pt>
                <c:pt idx="1">
                  <c:v>4.1233460188536027E-3</c:v>
                </c:pt>
                <c:pt idx="2">
                  <c:v>8.4841275225294439E-4</c:v>
                </c:pt>
                <c:pt idx="4">
                  <c:v>7.913068471668565E-5</c:v>
                </c:pt>
                <c:pt idx="5">
                  <c:v>5.5378341523344725E-3</c:v>
                </c:pt>
                <c:pt idx="6">
                  <c:v>8.1441739360201926E-4</c:v>
                </c:pt>
                <c:pt idx="7">
                  <c:v>6.9703894454433016E-3</c:v>
                </c:pt>
                <c:pt idx="8">
                  <c:v>7.3944085267959861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3.4792311485475785E-4</c:v>
                </c:pt>
                <c:pt idx="2">
                  <c:v>2.9753484898851269E-3</c:v>
                </c:pt>
                <c:pt idx="3">
                  <c:v>2.5442811533206093E-2</c:v>
                </c:pt>
                <c:pt idx="4">
                  <c:v>8.1907696184380929E-3</c:v>
                </c:pt>
                <c:pt idx="5">
                  <c:v>1.2789985512396374E-2</c:v>
                </c:pt>
                <c:pt idx="6">
                  <c:v>2.5319153551834204E-2</c:v>
                </c:pt>
                <c:pt idx="7">
                  <c:v>5.3866308100141751E-2</c:v>
                </c:pt>
                <c:pt idx="8">
                  <c:v>6.6991165810402015E-2</c:v>
                </c:pt>
                <c:pt idx="9">
                  <c:v>7.8089770938817388E-2</c:v>
                </c:pt>
                <c:pt idx="10">
                  <c:v>5.010371353093883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5905957307128072E-5</c:v>
                </c:pt>
                <c:pt idx="1">
                  <c:v>7.8251213604988139E-4</c:v>
                </c:pt>
                <c:pt idx="2">
                  <c:v>2.1295144337930239E-4</c:v>
                </c:pt>
                <c:pt idx="3">
                  <c:v>1.591077246575296E-3</c:v>
                </c:pt>
                <c:pt idx="4">
                  <c:v>5.17296764649448E-3</c:v>
                </c:pt>
                <c:pt idx="5">
                  <c:v>2.1698088685606319E-2</c:v>
                </c:pt>
                <c:pt idx="6">
                  <c:v>4.6158606990722604E-3</c:v>
                </c:pt>
                <c:pt idx="7">
                  <c:v>1.0028674232695114E-2</c:v>
                </c:pt>
                <c:pt idx="8">
                  <c:v>7.3710916846679566E-3</c:v>
                </c:pt>
                <c:pt idx="9">
                  <c:v>1.6175156682664499E-3</c:v>
                </c:pt>
                <c:pt idx="10">
                  <c:v>9.820440446081645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Apericub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4.5377452063178426E-4</c:v>
                </c:pt>
                <c:pt idx="3">
                  <c:v>2.0667565696057738E-2</c:v>
                </c:pt>
                <c:pt idx="4">
                  <c:v>5.8324352594170507E-3</c:v>
                </c:pt>
                <c:pt idx="7">
                  <c:v>2.0921477692139247E-3</c:v>
                </c:pt>
                <c:pt idx="8">
                  <c:v>2.290007054009776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3541906168727641E-2</c:v>
                </c:pt>
                <c:pt idx="1">
                  <c:v>6.0687198314264522E-3</c:v>
                </c:pt>
                <c:pt idx="2">
                  <c:v>9.4240649875731823E-3</c:v>
                </c:pt>
                <c:pt idx="3">
                  <c:v>4.2342006380660629E-2</c:v>
                </c:pt>
                <c:pt idx="4">
                  <c:v>3.7769337485073967E-2</c:v>
                </c:pt>
                <c:pt idx="5">
                  <c:v>8.4632797141149949E-2</c:v>
                </c:pt>
                <c:pt idx="6">
                  <c:v>8.439985130206458E-2</c:v>
                </c:pt>
                <c:pt idx="7">
                  <c:v>0.11416993214652363</c:v>
                </c:pt>
                <c:pt idx="8">
                  <c:v>0.13025782575110526</c:v>
                </c:pt>
                <c:pt idx="9">
                  <c:v>2.9284553073627758E-2</c:v>
                </c:pt>
                <c:pt idx="10">
                  <c:v>3.898250273765242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2">
                  <c:v>1.0202896374155589E-3</c:v>
                </c:pt>
                <c:pt idx="3">
                  <c:v>8.3158173813198243E-3</c:v>
                </c:pt>
                <c:pt idx="4">
                  <c:v>9.5288143400435749E-3</c:v>
                </c:pt>
                <c:pt idx="5">
                  <c:v>1.256503634582663E-4</c:v>
                </c:pt>
                <c:pt idx="6">
                  <c:v>1.0506368196031462E-3</c:v>
                </c:pt>
                <c:pt idx="7">
                  <c:v>1.0285284359285968E-2</c:v>
                </c:pt>
                <c:pt idx="8">
                  <c:v>3.9309644275867809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3.4792311485475785E-4</c:v>
                </c:pt>
                <c:pt idx="2">
                  <c:v>2.9753484898851269E-3</c:v>
                </c:pt>
                <c:pt idx="3">
                  <c:v>2.5442811533206093E-2</c:v>
                </c:pt>
                <c:pt idx="4">
                  <c:v>8.1907696184380929E-3</c:v>
                </c:pt>
                <c:pt idx="5">
                  <c:v>1.2789985512396374E-2</c:v>
                </c:pt>
                <c:pt idx="6">
                  <c:v>2.5319153551834204E-2</c:v>
                </c:pt>
                <c:pt idx="7">
                  <c:v>5.3866308100141751E-2</c:v>
                </c:pt>
                <c:pt idx="8">
                  <c:v>6.6991165810402015E-2</c:v>
                </c:pt>
                <c:pt idx="9">
                  <c:v>7.8089770938817388E-2</c:v>
                </c:pt>
                <c:pt idx="10">
                  <c:v>5.010371353093883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5905957307128072E-5</c:v>
                </c:pt>
                <c:pt idx="1">
                  <c:v>7.8251213604988139E-4</c:v>
                </c:pt>
                <c:pt idx="2">
                  <c:v>2.1295144337930239E-4</c:v>
                </c:pt>
                <c:pt idx="3">
                  <c:v>1.591077246575296E-3</c:v>
                </c:pt>
                <c:pt idx="4">
                  <c:v>5.17296764649448E-3</c:v>
                </c:pt>
                <c:pt idx="5">
                  <c:v>2.1698088685606319E-2</c:v>
                </c:pt>
                <c:pt idx="6">
                  <c:v>4.6158606990722604E-3</c:v>
                </c:pt>
                <c:pt idx="7">
                  <c:v>1.0028674232695114E-2</c:v>
                </c:pt>
                <c:pt idx="8">
                  <c:v>7.3710916846679566E-3</c:v>
                </c:pt>
                <c:pt idx="9">
                  <c:v>1.6175156682664499E-3</c:v>
                </c:pt>
                <c:pt idx="10">
                  <c:v>9.820440446081645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Apericub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4.5377452063178426E-4</c:v>
                </c:pt>
                <c:pt idx="3">
                  <c:v>2.0667565696057738E-2</c:v>
                </c:pt>
                <c:pt idx="4">
                  <c:v>5.8324352594170507E-3</c:v>
                </c:pt>
                <c:pt idx="7">
                  <c:v>2.0921477692139247E-3</c:v>
                </c:pt>
                <c:pt idx="8">
                  <c:v>2.290007054009776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3544756306589623E-2</c:v>
                </c:pt>
                <c:pt idx="1">
                  <c:v>1.0192065850280055E-2</c:v>
                </c:pt>
                <c:pt idx="2">
                  <c:v>9.2521881024105676E-3</c:v>
                </c:pt>
                <c:pt idx="3">
                  <c:v>3.402618899934081E-2</c:v>
                </c:pt>
                <c:pt idx="4">
                  <c:v>2.8319653829747073E-2</c:v>
                </c:pt>
                <c:pt idx="5">
                  <c:v>9.004498093002615E-2</c:v>
                </c:pt>
                <c:pt idx="6">
                  <c:v>8.4163631876063461E-2</c:v>
                </c:pt>
                <c:pt idx="7">
                  <c:v>0.11085503723268096</c:v>
                </c:pt>
                <c:pt idx="8">
                  <c:v>0.13725913783514257</c:v>
                </c:pt>
                <c:pt idx="9">
                  <c:v>2.9284553073627758E-2</c:v>
                </c:pt>
                <c:pt idx="10">
                  <c:v>3.898250273765242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0.26889999999999997</c:v>
                </c:pt>
                <c:pt idx="4">
                  <c:v>0.14979999999999999</c:v>
                </c:pt>
                <c:pt idx="5">
                  <c:v>0.15809999999999999</c:v>
                </c:pt>
                <c:pt idx="6">
                  <c:v>8.5999999999999993E-2</c:v>
                </c:pt>
                <c:pt idx="7">
                  <c:v>0.26860000000000001</c:v>
                </c:pt>
                <c:pt idx="8">
                  <c:v>6.8000000000000005E-2</c:v>
                </c:pt>
                <c:pt idx="9">
                  <c:v>5.0000000000000001E-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668986770156853E-2</c:v>
                </c:pt>
                <c:pt idx="1">
                  <c:v>1.9837674558354175E-2</c:v>
                </c:pt>
                <c:pt idx="2">
                  <c:v>2.0649080415175616E-2</c:v>
                </c:pt>
                <c:pt idx="3">
                  <c:v>3.8118183467068141E-2</c:v>
                </c:pt>
                <c:pt idx="4">
                  <c:v>6.1661417397453615E-2</c:v>
                </c:pt>
                <c:pt idx="5">
                  <c:v>9.9246828777930327E-2</c:v>
                </c:pt>
                <c:pt idx="6">
                  <c:v>0.13320160439496909</c:v>
                </c:pt>
                <c:pt idx="7">
                  <c:v>0.17855094253158701</c:v>
                </c:pt>
                <c:pt idx="8">
                  <c:v>0.24422796421949797</c:v>
                </c:pt>
                <c:pt idx="9">
                  <c:v>9.5230577342037964E-2</c:v>
                </c:pt>
                <c:pt idx="10">
                  <c:v>9.258585919435757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9983113193337842E-8</c:v>
                </c:pt>
                <c:pt idx="2">
                  <c:v>2.6900344683339403E-8</c:v>
                </c:pt>
                <c:pt idx="3">
                  <c:v>7.3965064768305756E-3</c:v>
                </c:pt>
                <c:pt idx="4">
                  <c:v>4.1201244268526099E-3</c:v>
                </c:pt>
                <c:pt idx="5">
                  <c:v>4.3485091217954379E-3</c:v>
                </c:pt>
                <c:pt idx="6">
                  <c:v>2.3665186258716741E-3</c:v>
                </c:pt>
                <c:pt idx="7">
                  <c:v>7.3873834170765399E-3</c:v>
                </c:pt>
                <c:pt idx="8">
                  <c:v>1.8716614222395156E-3</c:v>
                </c:pt>
                <c:pt idx="9">
                  <c:v>1.3805256891489781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3.4533663348811457E-4</c:v>
                </c:pt>
                <c:pt idx="1">
                  <c:v>2.5304585493472645E-3</c:v>
                </c:pt>
                <c:pt idx="2">
                  <c:v>3.0227502286779089E-3</c:v>
                </c:pt>
                <c:pt idx="3">
                  <c:v>4.7076879040763219E-3</c:v>
                </c:pt>
                <c:pt idx="4">
                  <c:v>1.9777845117453324E-2</c:v>
                </c:pt>
                <c:pt idx="5">
                  <c:v>1.4499385699885904E-2</c:v>
                </c:pt>
                <c:pt idx="6">
                  <c:v>3.3397169132235692E-2</c:v>
                </c:pt>
                <c:pt idx="7">
                  <c:v>5.5179989937272779E-2</c:v>
                </c:pt>
                <c:pt idx="8">
                  <c:v>0.12121172341308468</c:v>
                </c:pt>
                <c:pt idx="9">
                  <c:v>6.6540370573153429E-2</c:v>
                </c:pt>
                <c:pt idx="10">
                  <c:v>7.783189785536387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7.2188842694677618E-4</c:v>
                </c:pt>
                <c:pt idx="3">
                  <c:v>3.0442812645624536E-4</c:v>
                </c:pt>
                <c:pt idx="4">
                  <c:v>9.0734632042520802E-4</c:v>
                </c:pt>
                <c:pt idx="5">
                  <c:v>2.0924388534221509E-2</c:v>
                </c:pt>
                <c:pt idx="6">
                  <c:v>9.7264982775286581E-3</c:v>
                </c:pt>
                <c:pt idx="7">
                  <c:v>2.450657523972223E-3</c:v>
                </c:pt>
                <c:pt idx="8">
                  <c:v>1.1353843852122596E-3</c:v>
                </c:pt>
                <c:pt idx="10">
                  <c:v>7.472147171755019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5.6586027913319432E-5</c:v>
                </c:pt>
                <c:pt idx="4">
                  <c:v>5.5066542729349088E-3</c:v>
                </c:pt>
                <c:pt idx="5">
                  <c:v>5.1648661792011654E-7</c:v>
                </c:pt>
                <c:pt idx="6">
                  <c:v>1.2547394468353E-2</c:v>
                </c:pt>
                <c:pt idx="7">
                  <c:v>2.855733674351821E-3</c:v>
                </c:pt>
                <c:pt idx="8">
                  <c:v>1.644391785012875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6287925057053902E-2</c:v>
                </c:pt>
                <c:pt idx="1">
                  <c:v>1.7307216009006914E-2</c:v>
                </c:pt>
                <c:pt idx="2">
                  <c:v>1.6904414859206247E-2</c:v>
                </c:pt>
                <c:pt idx="3">
                  <c:v>2.5709560959704999E-2</c:v>
                </c:pt>
                <c:pt idx="4">
                  <c:v>3.1349447259787548E-2</c:v>
                </c:pt>
                <c:pt idx="5">
                  <c:v>5.9474028935409561E-2</c:v>
                </c:pt>
                <c:pt idx="6">
                  <c:v>7.5164023890980064E-2</c:v>
                </c:pt>
                <c:pt idx="7">
                  <c:v>0.11067717797891362</c:v>
                </c:pt>
                <c:pt idx="8">
                  <c:v>0.10356527714883278</c:v>
                </c:pt>
                <c:pt idx="9">
                  <c:v>2.8676401511993053E-2</c:v>
                </c:pt>
                <c:pt idx="10">
                  <c:v>1.474648919182195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0.2414</c:v>
                </c:pt>
                <c:pt idx="4">
                  <c:v>0.26279999999999998</c:v>
                </c:pt>
                <c:pt idx="5">
                  <c:v>0.1242</c:v>
                </c:pt>
                <c:pt idx="6">
                  <c:v>0.1134</c:v>
                </c:pt>
                <c:pt idx="7">
                  <c:v>0.14369999999999999</c:v>
                </c:pt>
                <c:pt idx="8">
                  <c:v>6.4399999999999999E-2</c:v>
                </c:pt>
                <c:pt idx="9">
                  <c:v>4.9799999999999997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4076700754436693E-2</c:v>
                </c:pt>
                <c:pt idx="1">
                  <c:v>2.6808770478219598E-2</c:v>
                </c:pt>
                <c:pt idx="2">
                  <c:v>3.3618921453349222E-2</c:v>
                </c:pt>
                <c:pt idx="3">
                  <c:v>4.3193698660743136E-2</c:v>
                </c:pt>
                <c:pt idx="4">
                  <c:v>6.0866470201537938E-2</c:v>
                </c:pt>
                <c:pt idx="5">
                  <c:v>0.11629275414523581</c:v>
                </c:pt>
                <c:pt idx="6">
                  <c:v>0.14114999538782796</c:v>
                </c:pt>
                <c:pt idx="7">
                  <c:v>0.18708207317322251</c:v>
                </c:pt>
                <c:pt idx="8">
                  <c:v>0.19672272953911327</c:v>
                </c:pt>
                <c:pt idx="9">
                  <c:v>0.14353338057932885</c:v>
                </c:pt>
                <c:pt idx="10">
                  <c:v>2.665450562698508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7.6163481912452955E-7</c:v>
                </c:pt>
                <c:pt idx="1">
                  <c:v>2.1857567294402178E-6</c:v>
                </c:pt>
                <c:pt idx="2">
                  <c:v>3.3935563242649154E-6</c:v>
                </c:pt>
                <c:pt idx="3">
                  <c:v>7.3350570736685104E-3</c:v>
                </c:pt>
                <c:pt idx="4">
                  <c:v>7.9841907685930073E-3</c:v>
                </c:pt>
                <c:pt idx="5">
                  <c:v>3.7744728815551137E-3</c:v>
                </c:pt>
                <c:pt idx="6">
                  <c:v>3.4438242223271344E-3</c:v>
                </c:pt>
                <c:pt idx="7">
                  <c:v>4.3662901763043098E-3</c:v>
                </c:pt>
                <c:pt idx="8">
                  <c:v>1.9560900311123767E-3</c:v>
                </c:pt>
                <c:pt idx="9">
                  <c:v>1.5140984734152224E-3</c:v>
                </c:pt>
                <c:pt idx="10">
                  <c:v>1.3520144718186915E-8</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5104435276264057E-3</c:v>
                </c:pt>
                <c:pt idx="1">
                  <c:v>1.6243417334473184E-3</c:v>
                </c:pt>
                <c:pt idx="2">
                  <c:v>9.4760486039468118E-3</c:v>
                </c:pt>
                <c:pt idx="3">
                  <c:v>2.9647063472338386E-3</c:v>
                </c:pt>
                <c:pt idx="4">
                  <c:v>1.0659466871129713E-2</c:v>
                </c:pt>
                <c:pt idx="5">
                  <c:v>3.3624212336648938E-2</c:v>
                </c:pt>
                <c:pt idx="6">
                  <c:v>3.4873370054166568E-2</c:v>
                </c:pt>
                <c:pt idx="7">
                  <c:v>5.2565894526394645E-2</c:v>
                </c:pt>
                <c:pt idx="8">
                  <c:v>7.8964049196093095E-2</c:v>
                </c:pt>
                <c:pt idx="9">
                  <c:v>0.10858238236090534</c:v>
                </c:pt>
                <c:pt idx="10">
                  <c:v>1.621735500217142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4872159190005607E-7</c:v>
                </c:pt>
                <c:pt idx="2">
                  <c:v>2.2135271066913739E-3</c:v>
                </c:pt>
                <c:pt idx="3">
                  <c:v>6.6172094965712827E-5</c:v>
                </c:pt>
                <c:pt idx="4">
                  <c:v>4.7248894813796873E-3</c:v>
                </c:pt>
                <c:pt idx="5">
                  <c:v>1.8605413657029873E-2</c:v>
                </c:pt>
                <c:pt idx="6">
                  <c:v>6.4526693353509478E-3</c:v>
                </c:pt>
                <c:pt idx="7">
                  <c:v>4.309825545246255E-3</c:v>
                </c:pt>
                <c:pt idx="8">
                  <c:v>1.1538587241140381E-3</c:v>
                </c:pt>
                <c:pt idx="10">
                  <c:v>6.9178073808056378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8.7565470624790579E-6</c:v>
                </c:pt>
                <c:pt idx="2">
                  <c:v>4.2633523011349402E-6</c:v>
                </c:pt>
                <c:pt idx="4">
                  <c:v>5.5903860522293286E-3</c:v>
                </c:pt>
                <c:pt idx="5">
                  <c:v>2.0296215915196892E-3</c:v>
                </c:pt>
                <c:pt idx="6">
                  <c:v>1.1919503798430578E-2</c:v>
                </c:pt>
                <c:pt idx="7">
                  <c:v>7.4942702978698797E-3</c:v>
                </c:pt>
                <c:pt idx="8">
                  <c:v>1.168632186247600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556590323336786E-2</c:v>
                </c:pt>
                <c:pt idx="1">
                  <c:v>2.5182242988042839E-2</c:v>
                </c:pt>
                <c:pt idx="2">
                  <c:v>2.1921688834085632E-2</c:v>
                </c:pt>
                <c:pt idx="3">
                  <c:v>3.2827763144875073E-2</c:v>
                </c:pt>
                <c:pt idx="4">
                  <c:v>3.1907537028206208E-2</c:v>
                </c:pt>
                <c:pt idx="5">
                  <c:v>5.8259033678482203E-2</c:v>
                </c:pt>
                <c:pt idx="6">
                  <c:v>8.4460627977552744E-2</c:v>
                </c:pt>
                <c:pt idx="7">
                  <c:v>0.1183457926274074</c:v>
                </c:pt>
                <c:pt idx="8">
                  <c:v>0.1029624097253177</c:v>
                </c:pt>
                <c:pt idx="9">
                  <c:v>3.3436899745008269E-2</c:v>
                </c:pt>
                <c:pt idx="10">
                  <c:v>1.043021929728813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32E-2</c:v>
                </c:pt>
                <c:pt idx="3">
                  <c:v>0.2707</c:v>
                </c:pt>
                <c:pt idx="4">
                  <c:v>0.31019999999999998</c:v>
                </c:pt>
                <c:pt idx="5">
                  <c:v>4.1000000000000003E-3</c:v>
                </c:pt>
                <c:pt idx="6">
                  <c:v>3.4200000000000001E-2</c:v>
                </c:pt>
                <c:pt idx="7">
                  <c:v>0.33479999999999999</c:v>
                </c:pt>
                <c:pt idx="8">
                  <c:v>1.2800000000000001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442252761138651E-2</c:v>
                </c:pt>
                <c:pt idx="1">
                  <c:v>1.2001151939103054E-2</c:v>
                </c:pt>
                <c:pt idx="2">
                  <c:v>1.4271461085164992E-2</c:v>
                </c:pt>
                <c:pt idx="3">
                  <c:v>7.3545625941690701E-2</c:v>
                </c:pt>
                <c:pt idx="4">
                  <c:v>5.4250404213041364E-2</c:v>
                </c:pt>
                <c:pt idx="5">
                  <c:v>0.12550902281882184</c:v>
                </c:pt>
                <c:pt idx="6">
                  <c:v>0.1211517910584342</c:v>
                </c:pt>
                <c:pt idx="7">
                  <c:v>0.187042554643229</c:v>
                </c:pt>
                <c:pt idx="8">
                  <c:v>0.21492993040072444</c:v>
                </c:pt>
                <c:pt idx="9">
                  <c:v>0.11520676347948282</c:v>
                </c:pt>
                <c:pt idx="10">
                  <c:v>6.766876680892111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2">
                  <c:v>1.0817790768354225E-3</c:v>
                </c:pt>
                <c:pt idx="3">
                  <c:v>8.8169838445905403E-3</c:v>
                </c:pt>
                <c:pt idx="4">
                  <c:v>1.0103084067598002E-2</c:v>
                </c:pt>
                <c:pt idx="5">
                  <c:v>1.332228900513244E-4</c:v>
                </c:pt>
                <c:pt idx="6">
                  <c:v>1.1139551820584471E-3</c:v>
                </c:pt>
                <c:pt idx="7">
                  <c:v>1.0905144001424821E-2</c:v>
                </c:pt>
                <c:pt idx="8">
                  <c:v>4.167870488540224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3.68891275766225E-4</c:v>
                </c:pt>
                <c:pt idx="2">
                  <c:v>3.1546627787033509E-3</c:v>
                </c:pt>
                <c:pt idx="3">
                  <c:v>2.6976164574412067E-2</c:v>
                </c:pt>
                <c:pt idx="4">
                  <c:v>8.6843998718343415E-3</c:v>
                </c:pt>
                <c:pt idx="5">
                  <c:v>1.3560795104599567E-2</c:v>
                </c:pt>
                <c:pt idx="6">
                  <c:v>2.6845054140642827E-2</c:v>
                </c:pt>
                <c:pt idx="7">
                  <c:v>5.3999775953001844E-2</c:v>
                </c:pt>
                <c:pt idx="8">
                  <c:v>6.9858842908345542E-2</c:v>
                </c:pt>
                <c:pt idx="9">
                  <c:v>8.2442330547880333E-2</c:v>
                </c:pt>
                <c:pt idx="10">
                  <c:v>5.312329654432198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8.0480555139236028E-5</c:v>
                </c:pt>
                <c:pt idx="1">
                  <c:v>8.2967152179727361E-4</c:v>
                </c:pt>
                <c:pt idx="2">
                  <c:v>2.2578531368128109E-4</c:v>
                </c:pt>
                <c:pt idx="3">
                  <c:v>1.6869661435883389E-3</c:v>
                </c:pt>
                <c:pt idx="4">
                  <c:v>5.4847250818887633E-3</c:v>
                </c:pt>
                <c:pt idx="5">
                  <c:v>2.3005759822147528E-2</c:v>
                </c:pt>
                <c:pt idx="6">
                  <c:v>4.8940431645387132E-3</c:v>
                </c:pt>
                <c:pt idx="7">
                  <c:v>1.0633068841911059E-2</c:v>
                </c:pt>
                <c:pt idx="8">
                  <c:v>7.8153226941592817E-3</c:v>
                </c:pt>
                <c:pt idx="9">
                  <c:v>1.7149979204105444E-3</c:v>
                </c:pt>
                <c:pt idx="10">
                  <c:v>1.0412285502369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price Des Dieux</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62474132051864E-6</c:v>
                </c:pt>
                <c:pt idx="1">
                  <c:v>1.1851628024008509E-5</c:v>
                </c:pt>
                <c:pt idx="2">
                  <c:v>5.0951064081067765E-4</c:v>
                </c:pt>
                <c:pt idx="3">
                  <c:v>1.2891739332380697E-3</c:v>
                </c:pt>
                <c:pt idx="4">
                  <c:v>5.7239909748960415E-3</c:v>
                </c:pt>
                <c:pt idx="5">
                  <c:v>2.0644580519885967E-2</c:v>
                </c:pt>
                <c:pt idx="6">
                  <c:v>6.1722864316196232E-4</c:v>
                </c:pt>
                <c:pt idx="7">
                  <c:v>1.330682260178105E-2</c:v>
                </c:pt>
                <c:pt idx="8">
                  <c:v>6.9740988569447259E-4</c:v>
                </c:pt>
                <c:pt idx="9">
                  <c:v>2.62474132051864E-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4339422314926756E-2</c:v>
                </c:pt>
                <c:pt idx="1">
                  <c:v>1.0790737513515548E-2</c:v>
                </c:pt>
                <c:pt idx="2">
                  <c:v>9.2997232751342602E-3</c:v>
                </c:pt>
                <c:pt idx="3">
                  <c:v>3.4776337445861692E-2</c:v>
                </c:pt>
                <c:pt idx="4">
                  <c:v>2.4254204216824216E-2</c:v>
                </c:pt>
                <c:pt idx="5">
                  <c:v>6.8164664482137441E-2</c:v>
                </c:pt>
                <c:pt idx="6">
                  <c:v>8.7681509928032239E-2</c:v>
                </c:pt>
                <c:pt idx="7">
                  <c:v>9.8197743245110214E-2</c:v>
                </c:pt>
                <c:pt idx="8">
                  <c:v>0.13614156786367113</c:v>
                </c:pt>
                <c:pt idx="9">
                  <c:v>3.1046810269871411E-2</c:v>
                </c:pt>
                <c:pt idx="10">
                  <c:v>4.1331847622300367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4/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4/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3.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2.xml"/><Relationship Id="rId5" Type="http://schemas.openxmlformats.org/officeDocument/2006/relationships/chart" Target="../charts/chart3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6.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8.xml"/><Relationship Id="rId5" Type="http://schemas.openxmlformats.org/officeDocument/2006/relationships/chart" Target="../charts/chart37.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2.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41.xml"/><Relationship Id="rId5" Type="http://schemas.openxmlformats.org/officeDocument/2006/relationships/chart" Target="../charts/chart40.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8.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7.xml"/><Relationship Id="rId5" Type="http://schemas.openxmlformats.org/officeDocument/2006/relationships/chart" Target="../charts/chart4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3.xml"/><Relationship Id="rId5" Type="http://schemas.openxmlformats.org/officeDocument/2006/relationships/chart" Target="../charts/chart52.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7.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6.xml"/><Relationship Id="rId5" Type="http://schemas.openxmlformats.org/officeDocument/2006/relationships/chart" Target="../charts/chart55.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9.xml"/><Relationship Id="rId5" Type="http://schemas.openxmlformats.org/officeDocument/2006/relationships/chart" Target="../charts/chart58.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3.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2.xml"/><Relationship Id="rId5" Type="http://schemas.openxmlformats.org/officeDocument/2006/relationships/chart" Target="../charts/chart6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5.xml"/><Relationship Id="rId5" Type="http://schemas.openxmlformats.org/officeDocument/2006/relationships/chart" Target="../charts/chart64.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9.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8.xml"/><Relationship Id="rId5" Type="http://schemas.openxmlformats.org/officeDocument/2006/relationships/chart" Target="../charts/chart67.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2.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71.xml"/><Relationship Id="rId5" Type="http://schemas.openxmlformats.org/officeDocument/2006/relationships/chart" Target="../charts/chart70.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4.xml"/><Relationship Id="rId5" Type="http://schemas.openxmlformats.org/officeDocument/2006/relationships/chart" Target="../charts/chart73.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8.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7.xml"/><Relationship Id="rId5" Type="http://schemas.openxmlformats.org/officeDocument/2006/relationships/chart" Target="../charts/chart7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1.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80.xml"/><Relationship Id="rId5" Type="http://schemas.openxmlformats.org/officeDocument/2006/relationships/chart" Target="../charts/chart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4.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3.xml"/><Relationship Id="rId5" Type="http://schemas.openxmlformats.org/officeDocument/2006/relationships/chart" Target="../charts/chart8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7.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6.xml"/><Relationship Id="rId5" Type="http://schemas.openxmlformats.org/officeDocument/2006/relationships/chart" Target="../charts/chart85.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9.xml"/><Relationship Id="rId5" Type="http://schemas.openxmlformats.org/officeDocument/2006/relationships/chart" Target="../charts/chart88.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3.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6.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5.xml"/><Relationship Id="rId5" Type="http://schemas.openxmlformats.org/officeDocument/2006/relationships/chart" Target="../charts/chart94.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9.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8.xml"/><Relationship Id="rId5" Type="http://schemas.openxmlformats.org/officeDocument/2006/relationships/chart" Target="../charts/chart97.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2.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101.xml"/><Relationship Id="rId5" Type="http://schemas.openxmlformats.org/officeDocument/2006/relationships/chart" Target="../charts/chart100.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4.xml"/><Relationship Id="rId5" Type="http://schemas.openxmlformats.org/officeDocument/2006/relationships/chart" Target="../charts/chart103.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8.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7.xml"/><Relationship Id="rId5" Type="http://schemas.openxmlformats.org/officeDocument/2006/relationships/chart" Target="../charts/chart106.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1.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10.xml"/><Relationship Id="rId5" Type="http://schemas.openxmlformats.org/officeDocument/2006/relationships/chart" Target="../charts/chart109.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4.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3.xml"/><Relationship Id="rId5" Type="http://schemas.openxmlformats.org/officeDocument/2006/relationships/chart" Target="../charts/chart112.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7.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6.xml"/><Relationship Id="rId5" Type="http://schemas.openxmlformats.org/officeDocument/2006/relationships/chart" Target="../charts/chart115.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0.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9.xml"/><Relationship Id="rId5" Type="http://schemas.openxmlformats.org/officeDocument/2006/relationships/chart" Target="../charts/chart118.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3.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2.xml"/><Relationship Id="rId5" Type="http://schemas.openxmlformats.org/officeDocument/2006/relationships/chart" Target="../charts/chart12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6.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5.xml"/><Relationship Id="rId5" Type="http://schemas.openxmlformats.org/officeDocument/2006/relationships/chart" Target="../charts/chart124.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9.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8.xml"/><Relationship Id="rId5" Type="http://schemas.openxmlformats.org/officeDocument/2006/relationships/chart" Target="../charts/chart127.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2.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31.xml"/><Relationship Id="rId5" Type="http://schemas.openxmlformats.org/officeDocument/2006/relationships/chart" Target="../charts/chart130.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5.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4.xml"/><Relationship Id="rId5" Type="http://schemas.openxmlformats.org/officeDocument/2006/relationships/chart" Target="../charts/chart133.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8.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37.xml"/><Relationship Id="rId5" Type="http://schemas.openxmlformats.org/officeDocument/2006/relationships/chart" Target="../charts/chart13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1.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40.xml"/><Relationship Id="rId5" Type="http://schemas.openxmlformats.org/officeDocument/2006/relationships/chart" Target="../charts/chart139.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4.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43.xml"/><Relationship Id="rId5" Type="http://schemas.openxmlformats.org/officeDocument/2006/relationships/chart" Target="../charts/chart142.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7.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46.xml"/><Relationship Id="rId5" Type="http://schemas.openxmlformats.org/officeDocument/2006/relationships/chart" Target="../charts/chart145.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0.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49.xml"/><Relationship Id="rId5" Type="http://schemas.openxmlformats.org/officeDocument/2006/relationships/chart" Target="../charts/chart148.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3.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52.xml"/><Relationship Id="rId5" Type="http://schemas.openxmlformats.org/officeDocument/2006/relationships/chart" Target="../charts/chart151.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6.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55.xml"/><Relationship Id="rId5" Type="http://schemas.openxmlformats.org/officeDocument/2006/relationships/chart" Target="../charts/chart154.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9.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58.xml"/><Relationship Id="rId5" Type="http://schemas.openxmlformats.org/officeDocument/2006/relationships/chart" Target="../charts/chart157.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2.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61.xml"/><Relationship Id="rId5" Type="http://schemas.openxmlformats.org/officeDocument/2006/relationships/chart" Target="../charts/chart160.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5.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64.xml"/><Relationship Id="rId5" Type="http://schemas.openxmlformats.org/officeDocument/2006/relationships/chart" Target="../charts/chart163.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8.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67.xml"/><Relationship Id="rId5" Type="http://schemas.openxmlformats.org/officeDocument/2006/relationships/chart" Target="../charts/chart16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1.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70.xml"/><Relationship Id="rId5" Type="http://schemas.openxmlformats.org/officeDocument/2006/relationships/chart" Target="../charts/chart169.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4.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73.xml"/><Relationship Id="rId5" Type="http://schemas.openxmlformats.org/officeDocument/2006/relationships/chart" Target="../charts/chart172.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7.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76.xml"/><Relationship Id="rId5" Type="http://schemas.openxmlformats.org/officeDocument/2006/relationships/chart" Target="../charts/chart17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0.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79.xml"/><Relationship Id="rId5" Type="http://schemas.openxmlformats.org/officeDocument/2006/relationships/chart" Target="../charts/chart178.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3.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82.xml"/><Relationship Id="rId5" Type="http://schemas.openxmlformats.org/officeDocument/2006/relationships/chart" Target="../charts/chart18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6.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85.xml"/><Relationship Id="rId5" Type="http://schemas.openxmlformats.org/officeDocument/2006/relationships/chart" Target="../charts/chart184.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9.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88.xml"/><Relationship Id="rId5" Type="http://schemas.openxmlformats.org/officeDocument/2006/relationships/chart" Target="../charts/chart187.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2.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91.xml"/><Relationship Id="rId5" Type="http://schemas.openxmlformats.org/officeDocument/2006/relationships/chart" Target="../charts/chart190.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5.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94.xml"/><Relationship Id="rId5" Type="http://schemas.openxmlformats.org/officeDocument/2006/relationships/chart" Target="../charts/chart193.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8.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97.xml"/><Relationship Id="rId5" Type="http://schemas.openxmlformats.org/officeDocument/2006/relationships/chart" Target="../charts/chart19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1.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200.xml"/><Relationship Id="rId5" Type="http://schemas.openxmlformats.org/officeDocument/2006/relationships/chart" Target="../charts/chart199.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4.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203.xml"/><Relationship Id="rId5" Type="http://schemas.openxmlformats.org/officeDocument/2006/relationships/chart" Target="../charts/chart202.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7.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206.xml"/><Relationship Id="rId5" Type="http://schemas.openxmlformats.org/officeDocument/2006/relationships/chart" Target="../charts/chart205.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0.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209.xml"/><Relationship Id="rId5" Type="http://schemas.openxmlformats.org/officeDocument/2006/relationships/chart" Target="../charts/chart208.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3.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212.xml"/><Relationship Id="rId5" Type="http://schemas.openxmlformats.org/officeDocument/2006/relationships/chart" Target="../charts/chart21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6.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215.xml"/><Relationship Id="rId5" Type="http://schemas.openxmlformats.org/officeDocument/2006/relationships/chart" Target="../charts/chart214.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9.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218.xml"/><Relationship Id="rId5" Type="http://schemas.openxmlformats.org/officeDocument/2006/relationships/chart" Target="../charts/chart217.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2.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221.xml"/><Relationship Id="rId5" Type="http://schemas.openxmlformats.org/officeDocument/2006/relationships/chart" Target="../charts/chart220.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5.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224.xml"/><Relationship Id="rId5" Type="http://schemas.openxmlformats.org/officeDocument/2006/relationships/chart" Target="../charts/chart223.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8.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227.xml"/><Relationship Id="rId5" Type="http://schemas.openxmlformats.org/officeDocument/2006/relationships/chart" Target="../charts/chart22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1.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230.xml"/><Relationship Id="rId5" Type="http://schemas.openxmlformats.org/officeDocument/2006/relationships/chart" Target="../charts/chart229.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4.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233.xml"/><Relationship Id="rId5" Type="http://schemas.openxmlformats.org/officeDocument/2006/relationships/chart" Target="../charts/chart232.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7.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236.xml"/><Relationship Id="rId5" Type="http://schemas.openxmlformats.org/officeDocument/2006/relationships/chart" Target="../charts/chart235.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0.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239.xml"/><Relationship Id="rId5" Type="http://schemas.openxmlformats.org/officeDocument/2006/relationships/chart" Target="../charts/chart238.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3.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242.xml"/><Relationship Id="rId5" Type="http://schemas.openxmlformats.org/officeDocument/2006/relationships/chart" Target="../charts/chart241.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5904808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3445827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6898756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40460913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1439750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2293602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41529691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2074825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1662212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3375553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7226929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0517635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2978570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7695013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0112242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4358330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8115596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1065399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9683751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1296139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8684608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5380681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99253891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42059253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5478991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2805731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1498567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0719497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36821998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82615728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88377757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13451827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6184697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73979136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79465407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53662502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33442626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54242469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23953568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93869761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8968209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411696402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69480283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519990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95501451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37383190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68283490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08570359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28363942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18280442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4832986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29891455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58386514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02525912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9671697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76444608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12235599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40460292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64579503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41493455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82452484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423363548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76228815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90499482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7595445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9947202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72718966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93128492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32528194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58262571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49454879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06800306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29661947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32818464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66420245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26864091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2476113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43775816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103529342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35658991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4/2025</a:t>
            </a:fld>
            <a:endParaRPr lang="en-US" sz="500"/>
          </a:p>
        </p:txBody>
      </p:sp>
    </p:spTree>
    <p:extLst>
      <p:ext uri="{BB962C8B-B14F-4D97-AF65-F5344CB8AC3E}">
        <p14:creationId xmlns:p14="http://schemas.microsoft.com/office/powerpoint/2010/main" val="8504745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7294</Words>
  <Application>Microsoft Office PowerPoint</Application>
  <PresentationFormat>On-screen Show (16:9)</PresentationFormat>
  <Paragraphs>2508</Paragraphs>
  <Slides>81</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81</vt:i4>
      </vt:variant>
    </vt:vector>
  </HeadingPairs>
  <TitlesOfParts>
    <vt:vector size="90" baseType="lpstr">
      <vt:lpstr>Aptos</vt:lpstr>
      <vt:lpstr>Arial</vt:lpstr>
      <vt:lpstr>Nexa</vt:lpstr>
      <vt:lpstr>Nexa Bold</vt:lpstr>
      <vt:lpstr>Nexa Book</vt:lpstr>
      <vt:lpstr>Nexa Book Italic</vt:lpstr>
      <vt:lpstr>Open Sans</vt:lpstr>
      <vt:lpstr>1_PricingOne Light Template Oct 2024</vt:lpstr>
      <vt:lpstr>think-cell Slide</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7</cp:revision>
  <dcterms:created xsi:type="dcterms:W3CDTF">2024-07-05T11:30:58Z</dcterms:created>
  <dcterms:modified xsi:type="dcterms:W3CDTF">2025-09-14T07:30: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